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4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5.xml" ContentType="application/vnd.openxmlformats-officedocument.them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6.xml" ContentType="application/vnd.openxmlformats-officedocument.theme+xml"/>
  <Override PartName="/ppt/tags/tag353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  <p:sldMasterId id="2147483808" r:id="rId6"/>
    <p:sldMasterId id="2147483866" r:id="rId7"/>
    <p:sldMasterId id="2147483933" r:id="rId8"/>
    <p:sldMasterId id="2147483977" r:id="rId9"/>
    <p:sldMasterId id="2147484049" r:id="rId10"/>
    <p:sldMasterId id="2147484073" r:id="rId11"/>
  </p:sldMasterIdLst>
  <p:notesMasterIdLst>
    <p:notesMasterId r:id="rId30"/>
  </p:notesMasterIdLst>
  <p:handoutMasterIdLst>
    <p:handoutMasterId r:id="rId31"/>
  </p:handoutMasterIdLst>
  <p:sldIdLst>
    <p:sldId id="2134959249" r:id="rId12"/>
    <p:sldId id="2134959250" r:id="rId13"/>
    <p:sldId id="2134959251" r:id="rId14"/>
    <p:sldId id="2246" r:id="rId15"/>
    <p:sldId id="2134959201" r:id="rId16"/>
    <p:sldId id="2134804820" r:id="rId17"/>
    <p:sldId id="262" r:id="rId18"/>
    <p:sldId id="2134959246" r:id="rId19"/>
    <p:sldId id="2134959247" r:id="rId20"/>
    <p:sldId id="2134959248" r:id="rId21"/>
    <p:sldId id="2134959211" r:id="rId22"/>
    <p:sldId id="2096975834" r:id="rId23"/>
    <p:sldId id="2134959217" r:id="rId24"/>
    <p:sldId id="2134959212" r:id="rId25"/>
    <p:sldId id="2096975842" r:id="rId26"/>
    <p:sldId id="2134959253" r:id="rId27"/>
    <p:sldId id="2134959254" r:id="rId28"/>
    <p:sldId id="2134959215" r:id="rId29"/>
  </p:sldIdLst>
  <p:sldSz cx="12192000" cy="6858000"/>
  <p:notesSz cx="6858000" cy="9144000"/>
  <p:embeddedFontLst>
    <p:embeddedFont>
      <p:font typeface="Tahoma" panose="020B0604030504040204" pitchFamily="34" charset="0"/>
      <p:regular r:id="rId32"/>
      <p:bold r:id="rId33"/>
    </p:embeddedFont>
    <p:embeddedFont>
      <p:font typeface="MS PGothic" panose="020B0600070205080204" pitchFamily="34" charset="-128"/>
      <p:regular r:id="rId34"/>
    </p:embeddedFont>
    <p:embeddedFont>
      <p:font typeface="Apis For Office Light" panose="020B0604020202020204" charset="0"/>
      <p:regular r:id="rId35"/>
      <p:italic r:id="rId36"/>
    </p:embeddedFont>
    <p:embeddedFont>
      <p:font typeface="Apis For Office" panose="020B0604020202020204" charset="0"/>
      <p:regular r:id="rId37"/>
      <p:bold r:id="rId38"/>
      <p:italic r:id="rId39"/>
      <p:boldItalic r:id="rId40"/>
    </p:embeddedFont>
    <p:embeddedFont>
      <p:font typeface="Verdana" panose="020B0604030504040204" pitchFamily="34" charset="0"/>
      <p:regular r:id="rId41"/>
      <p:bold r:id="rId42"/>
      <p:italic r:id="rId43"/>
      <p:boldItalic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Apis" panose="020B0604020202020204" charset="0"/>
      <p:regular r:id="rId49"/>
      <p:bold r:id="rId50"/>
      <p:italic r:id="rId51"/>
      <p:boldItalic r:id="rId52"/>
    </p:embeddedFont>
    <p:embeddedFont>
      <p:font typeface="Raleway" panose="020B0604020202020204" charset="0"/>
      <p:regular r:id="rId53"/>
      <p:bold r:id="rId54"/>
      <p:italic r:id="rId55"/>
      <p:boldItalic r:id="rId5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98FF"/>
    <a:srgbClr val="C6C6C6"/>
    <a:srgbClr val="6C2B29"/>
    <a:srgbClr val="0C1223"/>
    <a:srgbClr val="2A918B"/>
    <a:srgbClr val="939AA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BB684F-0117-4D7C-9279-1FEE34449730}" v="7" dt="2022-04-11T18:14:03.10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08" autoAdjust="0"/>
    <p:restoredTop sz="94340" autoAdjust="0"/>
  </p:normalViewPr>
  <p:slideViewPr>
    <p:cSldViewPr snapToGrid="0" showGuides="1">
      <p:cViewPr varScale="1">
        <p:scale>
          <a:sx n="69" d="100"/>
          <a:sy n="69" d="100"/>
        </p:scale>
        <p:origin x="906" y="72"/>
      </p:cViewPr>
      <p:guideLst/>
    </p:cSldViewPr>
  </p:slideViewPr>
  <p:outlineViewPr>
    <p:cViewPr>
      <p:scale>
        <a:sx n="33" d="100"/>
        <a:sy n="33" d="100"/>
      </p:scale>
      <p:origin x="0" y="-312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2166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font" Target="fonts/font8.fntdata"/><Relationship Id="rId21" Type="http://schemas.openxmlformats.org/officeDocument/2006/relationships/slide" Target="slides/slide1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font" Target="fonts/font19.fntdata"/><Relationship Id="rId55" Type="http://schemas.openxmlformats.org/officeDocument/2006/relationships/font" Target="fonts/font24.fntdata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font" Target="fonts/font10.fntdata"/><Relationship Id="rId54" Type="http://schemas.openxmlformats.org/officeDocument/2006/relationships/font" Target="fonts/font23.fntdata"/><Relationship Id="rId75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3" Type="http://schemas.openxmlformats.org/officeDocument/2006/relationships/font" Target="fonts/font22.fntdata"/><Relationship Id="rId58" Type="http://schemas.openxmlformats.org/officeDocument/2006/relationships/viewProps" Target="viewProps.xml"/><Relationship Id="rId7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font" Target="fonts/font5.fntdata"/><Relationship Id="rId49" Type="http://schemas.openxmlformats.org/officeDocument/2006/relationships/font" Target="fonts/font18.fntdata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52" Type="http://schemas.openxmlformats.org/officeDocument/2006/relationships/font" Target="fonts/font21.fntdata"/><Relationship Id="rId60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font" Target="fonts/font17.fntdata"/><Relationship Id="rId56" Type="http://schemas.openxmlformats.org/officeDocument/2006/relationships/font" Target="fonts/font25.fntdata"/><Relationship Id="rId8" Type="http://schemas.openxmlformats.org/officeDocument/2006/relationships/slideMaster" Target="slideMasters/slideMaster4.xml"/><Relationship Id="rId51" Type="http://schemas.openxmlformats.org/officeDocument/2006/relationships/font" Target="fonts/font20.fntdata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5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SVE (Gianluca Stivale)" userId="b2f3af48-7d3d-4911-89cc-4769d0faa1c3" providerId="ADAL" clId="{290A5970-1EBC-46B0-9CEE-3B2A29DCBD00}"/>
    <pc:docChg chg="undo custSel addSld delSld modSld sldOrd">
      <pc:chgData name="GSVE (Gianluca Stivale)" userId="b2f3af48-7d3d-4911-89cc-4769d0faa1c3" providerId="ADAL" clId="{290A5970-1EBC-46B0-9CEE-3B2A29DCBD00}" dt="2022-01-30T12:23:59.360" v="261" actId="729"/>
      <pc:docMkLst>
        <pc:docMk/>
      </pc:docMkLst>
      <pc:sldChg chg="addSp delSp modSp mod">
        <pc:chgData name="GSVE (Gianluca Stivale)" userId="b2f3af48-7d3d-4911-89cc-4769d0faa1c3" providerId="ADAL" clId="{290A5970-1EBC-46B0-9CEE-3B2A29DCBD00}" dt="2022-01-27T19:16:58.719" v="161" actId="478"/>
        <pc:sldMkLst>
          <pc:docMk/>
          <pc:sldMk cId="3598511070" sldId="265"/>
        </pc:sldMkLst>
        <pc:spChg chg="mod">
          <ac:chgData name="GSVE (Gianluca Stivale)" userId="b2f3af48-7d3d-4911-89cc-4769d0faa1c3" providerId="ADAL" clId="{290A5970-1EBC-46B0-9CEE-3B2A29DCBD00}" dt="2022-01-14T08:22:46.968" v="18" actId="6549"/>
          <ac:spMkLst>
            <pc:docMk/>
            <pc:sldMk cId="3598511070" sldId="265"/>
            <ac:spMk id="3" creationId="{43FF7D07-244D-4AD8-A533-938BDBF811F4}"/>
          </ac:spMkLst>
        </pc:spChg>
        <pc:picChg chg="add del mod">
          <ac:chgData name="GSVE (Gianluca Stivale)" userId="b2f3af48-7d3d-4911-89cc-4769d0faa1c3" providerId="ADAL" clId="{290A5970-1EBC-46B0-9CEE-3B2A29DCBD00}" dt="2022-01-27T19:16:58.719" v="161" actId="478"/>
          <ac:picMkLst>
            <pc:docMk/>
            <pc:sldMk cId="3598511070" sldId="265"/>
            <ac:picMk id="6" creationId="{34A12F48-4D80-48F6-8967-E7E969997B84}"/>
          </ac:picMkLst>
        </pc:picChg>
      </pc:sldChg>
      <pc:sldChg chg="add mod modShow">
        <pc:chgData name="GSVE (Gianluca Stivale)" userId="b2f3af48-7d3d-4911-89cc-4769d0faa1c3" providerId="ADAL" clId="{290A5970-1EBC-46B0-9CEE-3B2A29DCBD00}" dt="2022-01-27T19:25:54.707" v="164" actId="729"/>
        <pc:sldMkLst>
          <pc:docMk/>
          <pc:sldMk cId="982889153" sldId="272"/>
        </pc:sldMkLst>
      </pc:sldChg>
      <pc:sldChg chg="add mod modShow">
        <pc:chgData name="GSVE (Gianluca Stivale)" userId="b2f3af48-7d3d-4911-89cc-4769d0faa1c3" providerId="ADAL" clId="{290A5970-1EBC-46B0-9CEE-3B2A29DCBD00}" dt="2022-01-27T19:25:54.707" v="164" actId="729"/>
        <pc:sldMkLst>
          <pc:docMk/>
          <pc:sldMk cId="2417339425" sldId="274"/>
        </pc:sldMkLst>
      </pc:sldChg>
      <pc:sldChg chg="add mod modShow">
        <pc:chgData name="GSVE (Gianluca Stivale)" userId="b2f3af48-7d3d-4911-89cc-4769d0faa1c3" providerId="ADAL" clId="{290A5970-1EBC-46B0-9CEE-3B2A29DCBD00}" dt="2022-01-27T19:25:54.707" v="164" actId="729"/>
        <pc:sldMkLst>
          <pc:docMk/>
          <pc:sldMk cId="4108003125" sldId="277"/>
        </pc:sldMkLst>
      </pc:sldChg>
      <pc:sldChg chg="ord">
        <pc:chgData name="GSVE (Gianluca Stivale)" userId="b2f3af48-7d3d-4911-89cc-4769d0faa1c3" providerId="ADAL" clId="{290A5970-1EBC-46B0-9CEE-3B2A29DCBD00}" dt="2022-01-27T08:16:51.898" v="133"/>
        <pc:sldMkLst>
          <pc:docMk/>
          <pc:sldMk cId="613330978" sldId="278"/>
        </pc:sldMkLst>
      </pc:sldChg>
      <pc:sldChg chg="add mod modShow">
        <pc:chgData name="GSVE (Gianluca Stivale)" userId="b2f3af48-7d3d-4911-89cc-4769d0faa1c3" providerId="ADAL" clId="{290A5970-1EBC-46B0-9CEE-3B2A29DCBD00}" dt="2022-01-27T19:25:54.707" v="164" actId="729"/>
        <pc:sldMkLst>
          <pc:docMk/>
          <pc:sldMk cId="423981361" sldId="279"/>
        </pc:sldMkLst>
      </pc:sldChg>
      <pc:sldChg chg="add">
        <pc:chgData name="GSVE (Gianluca Stivale)" userId="b2f3af48-7d3d-4911-89cc-4769d0faa1c3" providerId="ADAL" clId="{290A5970-1EBC-46B0-9CEE-3B2A29DCBD00}" dt="2022-01-27T08:18:00.239" v="141"/>
        <pc:sldMkLst>
          <pc:docMk/>
          <pc:sldMk cId="64470975" sldId="683"/>
        </pc:sldMkLst>
      </pc:sldChg>
      <pc:sldChg chg="del mod modAnim modShow">
        <pc:chgData name="GSVE (Gianluca Stivale)" userId="b2f3af48-7d3d-4911-89cc-4769d0faa1c3" providerId="ADAL" clId="{290A5970-1EBC-46B0-9CEE-3B2A29DCBD00}" dt="2022-01-27T08:17:55.841" v="140" actId="2696"/>
        <pc:sldMkLst>
          <pc:docMk/>
          <pc:sldMk cId="404904448" sldId="683"/>
        </pc:sldMkLst>
      </pc:sldChg>
      <pc:sldChg chg="mod modShow">
        <pc:chgData name="GSVE (Gianluca Stivale)" userId="b2f3af48-7d3d-4911-89cc-4769d0faa1c3" providerId="ADAL" clId="{290A5970-1EBC-46B0-9CEE-3B2A29DCBD00}" dt="2022-01-30T12:23:59.360" v="261" actId="729"/>
        <pc:sldMkLst>
          <pc:docMk/>
          <pc:sldMk cId="1142741388" sldId="702"/>
        </pc:sldMkLst>
      </pc:sldChg>
      <pc:sldChg chg="mod modShow">
        <pc:chgData name="GSVE (Gianluca Stivale)" userId="b2f3af48-7d3d-4911-89cc-4769d0faa1c3" providerId="ADAL" clId="{290A5970-1EBC-46B0-9CEE-3B2A29DCBD00}" dt="2022-01-30T12:22:28.095" v="260" actId="729"/>
        <pc:sldMkLst>
          <pc:docMk/>
          <pc:sldMk cId="2323247860" sldId="725"/>
        </pc:sldMkLst>
      </pc:sldChg>
      <pc:sldChg chg="del">
        <pc:chgData name="GSVE (Gianluca Stivale)" userId="b2f3af48-7d3d-4911-89cc-4769d0faa1c3" providerId="ADAL" clId="{290A5970-1EBC-46B0-9CEE-3B2A29DCBD00}" dt="2022-01-27T08:18:02.075" v="142" actId="47"/>
        <pc:sldMkLst>
          <pc:docMk/>
          <pc:sldMk cId="3730081749" sldId="796"/>
        </pc:sldMkLst>
      </pc:sldChg>
      <pc:sldChg chg="addSp delSp modSp mod delAnim">
        <pc:chgData name="GSVE (Gianluca Stivale)" userId="b2f3af48-7d3d-4911-89cc-4769d0faa1c3" providerId="ADAL" clId="{290A5970-1EBC-46B0-9CEE-3B2A29DCBD00}" dt="2022-01-30T10:16:16.384" v="189" actId="14100"/>
        <pc:sldMkLst>
          <pc:docMk/>
          <pc:sldMk cId="2918337567" sldId="834"/>
        </pc:sldMkLst>
        <pc:grpChg chg="del">
          <ac:chgData name="GSVE (Gianluca Stivale)" userId="b2f3af48-7d3d-4911-89cc-4769d0faa1c3" providerId="ADAL" clId="{290A5970-1EBC-46B0-9CEE-3B2A29DCBD00}" dt="2022-01-21T09:38:21.043" v="80" actId="478"/>
          <ac:grpSpMkLst>
            <pc:docMk/>
            <pc:sldMk cId="2918337567" sldId="834"/>
            <ac:grpSpMk id="43" creationId="{BFA7F829-154E-48F3-9B6E-AB7B8D4102EE}"/>
          </ac:grpSpMkLst>
        </pc:grpChg>
        <pc:grpChg chg="del">
          <ac:chgData name="GSVE (Gianluca Stivale)" userId="b2f3af48-7d3d-4911-89cc-4769d0faa1c3" providerId="ADAL" clId="{290A5970-1EBC-46B0-9CEE-3B2A29DCBD00}" dt="2022-01-21T09:38:15.100" v="78" actId="478"/>
          <ac:grpSpMkLst>
            <pc:docMk/>
            <pc:sldMk cId="2918337567" sldId="834"/>
            <ac:grpSpMk id="63" creationId="{3B9FD838-B6CE-4415-BAA2-7380ECB22324}"/>
          </ac:grpSpMkLst>
        </pc:grpChg>
        <pc:grpChg chg="del">
          <ac:chgData name="GSVE (Gianluca Stivale)" userId="b2f3af48-7d3d-4911-89cc-4769d0faa1c3" providerId="ADAL" clId="{290A5970-1EBC-46B0-9CEE-3B2A29DCBD00}" dt="2022-01-21T09:38:09.611" v="76" actId="478"/>
          <ac:grpSpMkLst>
            <pc:docMk/>
            <pc:sldMk cId="2918337567" sldId="834"/>
            <ac:grpSpMk id="68" creationId="{0CEF82E8-A791-4796-B635-026037856C6B}"/>
          </ac:grpSpMkLst>
        </pc:grpChg>
        <pc:grpChg chg="del">
          <ac:chgData name="GSVE (Gianluca Stivale)" userId="b2f3af48-7d3d-4911-89cc-4769d0faa1c3" providerId="ADAL" clId="{290A5970-1EBC-46B0-9CEE-3B2A29DCBD00}" dt="2022-01-21T09:38:18.074" v="79" actId="478"/>
          <ac:grpSpMkLst>
            <pc:docMk/>
            <pc:sldMk cId="2918337567" sldId="834"/>
            <ac:grpSpMk id="73" creationId="{9E4480CA-93E6-403E-9015-5E48EEA91513}"/>
          </ac:grpSpMkLst>
        </pc:grpChg>
        <pc:grpChg chg="del">
          <ac:chgData name="GSVE (Gianluca Stivale)" userId="b2f3af48-7d3d-4911-89cc-4769d0faa1c3" providerId="ADAL" clId="{290A5970-1EBC-46B0-9CEE-3B2A29DCBD00}" dt="2022-01-21T09:38:12.834" v="77" actId="478"/>
          <ac:grpSpMkLst>
            <pc:docMk/>
            <pc:sldMk cId="2918337567" sldId="834"/>
            <ac:grpSpMk id="78" creationId="{D7A9C76A-E4C4-4AED-97B2-AE78CC4F4236}"/>
          </ac:grpSpMkLst>
        </pc:grpChg>
        <pc:picChg chg="add mod modCrop">
          <ac:chgData name="GSVE (Gianluca Stivale)" userId="b2f3af48-7d3d-4911-89cc-4769d0faa1c3" providerId="ADAL" clId="{290A5970-1EBC-46B0-9CEE-3B2A29DCBD00}" dt="2022-01-30T10:16:16.384" v="189" actId="14100"/>
          <ac:picMkLst>
            <pc:docMk/>
            <pc:sldMk cId="2918337567" sldId="834"/>
            <ac:picMk id="4" creationId="{D5BEFAC2-A963-45AC-832C-72AB3F19B41B}"/>
          </ac:picMkLst>
        </pc:picChg>
      </pc:sldChg>
      <pc:sldChg chg="add del">
        <pc:chgData name="GSVE (Gianluca Stivale)" userId="b2f3af48-7d3d-4911-89cc-4769d0faa1c3" providerId="ADAL" clId="{290A5970-1EBC-46B0-9CEE-3B2A29DCBD00}" dt="2022-01-27T08:18:52.162" v="146"/>
        <pc:sldMkLst>
          <pc:docMk/>
          <pc:sldMk cId="1446162811" sldId="1152"/>
        </pc:sldMkLst>
      </pc:sldChg>
      <pc:sldChg chg="mod ord modShow">
        <pc:chgData name="GSVE (Gianluca Stivale)" userId="b2f3af48-7d3d-4911-89cc-4769d0faa1c3" providerId="ADAL" clId="{290A5970-1EBC-46B0-9CEE-3B2A29DCBD00}" dt="2022-01-30T09:57:01.883" v="173" actId="729"/>
        <pc:sldMkLst>
          <pc:docMk/>
          <pc:sldMk cId="2309483073" sldId="1228"/>
        </pc:sldMkLst>
      </pc:sldChg>
      <pc:sldChg chg="add del">
        <pc:chgData name="GSVE (Gianluca Stivale)" userId="b2f3af48-7d3d-4911-89cc-4769d0faa1c3" providerId="ADAL" clId="{290A5970-1EBC-46B0-9CEE-3B2A29DCBD00}" dt="2022-01-27T08:18:52.162" v="146"/>
        <pc:sldMkLst>
          <pc:docMk/>
          <pc:sldMk cId="1601230446" sldId="3583"/>
        </pc:sldMkLst>
      </pc:sldChg>
      <pc:sldChg chg="add">
        <pc:chgData name="GSVE (Gianluca Stivale)" userId="b2f3af48-7d3d-4911-89cc-4769d0faa1c3" providerId="ADAL" clId="{290A5970-1EBC-46B0-9CEE-3B2A29DCBD00}" dt="2022-01-27T08:19:35.648" v="154"/>
        <pc:sldMkLst>
          <pc:docMk/>
          <pc:sldMk cId="42627460" sldId="3602"/>
        </pc:sldMkLst>
      </pc:sldChg>
      <pc:sldChg chg="del">
        <pc:chgData name="GSVE (Gianluca Stivale)" userId="b2f3af48-7d3d-4911-89cc-4769d0faa1c3" providerId="ADAL" clId="{290A5970-1EBC-46B0-9CEE-3B2A29DCBD00}" dt="2022-01-27T08:19:29.486" v="153" actId="2696"/>
        <pc:sldMkLst>
          <pc:docMk/>
          <pc:sldMk cId="77771885" sldId="3602"/>
        </pc:sldMkLst>
      </pc:sldChg>
      <pc:sldChg chg="del">
        <pc:chgData name="GSVE (Gianluca Stivale)" userId="b2f3af48-7d3d-4911-89cc-4769d0faa1c3" providerId="ADAL" clId="{290A5970-1EBC-46B0-9CEE-3B2A29DCBD00}" dt="2022-01-14T14:54:54.495" v="39" actId="47"/>
        <pc:sldMkLst>
          <pc:docMk/>
          <pc:sldMk cId="1222006814" sldId="5946"/>
        </pc:sldMkLst>
      </pc:sldChg>
      <pc:sldChg chg="add mod modShow">
        <pc:chgData name="GSVE (Gianluca Stivale)" userId="b2f3af48-7d3d-4911-89cc-4769d0faa1c3" providerId="ADAL" clId="{290A5970-1EBC-46B0-9CEE-3B2A29DCBD00}" dt="2022-01-14T08:42:21.042" v="27" actId="729"/>
        <pc:sldMkLst>
          <pc:docMk/>
          <pc:sldMk cId="4147621238" sldId="2096975694"/>
        </pc:sldMkLst>
      </pc:sldChg>
      <pc:sldChg chg="ord">
        <pc:chgData name="GSVE (Gianluca Stivale)" userId="b2f3af48-7d3d-4911-89cc-4769d0faa1c3" providerId="ADAL" clId="{290A5970-1EBC-46B0-9CEE-3B2A29DCBD00}" dt="2022-01-27T08:16:51.898" v="133"/>
        <pc:sldMkLst>
          <pc:docMk/>
          <pc:sldMk cId="1604345794" sldId="2096975800"/>
        </pc:sldMkLst>
      </pc:sldChg>
      <pc:sldChg chg="ord">
        <pc:chgData name="GSVE (Gianluca Stivale)" userId="b2f3af48-7d3d-4911-89cc-4769d0faa1c3" providerId="ADAL" clId="{290A5970-1EBC-46B0-9CEE-3B2A29DCBD00}" dt="2022-01-27T19:28:12.823" v="172"/>
        <pc:sldMkLst>
          <pc:docMk/>
          <pc:sldMk cId="1910899293" sldId="2096975849"/>
        </pc:sldMkLst>
      </pc:sldChg>
      <pc:sldChg chg="add">
        <pc:chgData name="GSVE (Gianluca Stivale)" userId="b2f3af48-7d3d-4911-89cc-4769d0faa1c3" providerId="ADAL" clId="{290A5970-1EBC-46B0-9CEE-3B2A29DCBD00}" dt="2022-01-27T08:19:17.111" v="152"/>
        <pc:sldMkLst>
          <pc:docMk/>
          <pc:sldMk cId="1458653450" sldId="2096975851"/>
        </pc:sldMkLst>
      </pc:sldChg>
      <pc:sldChg chg="del mod modShow">
        <pc:chgData name="GSVE (Gianluca Stivale)" userId="b2f3af48-7d3d-4911-89cc-4769d0faa1c3" providerId="ADAL" clId="{290A5970-1EBC-46B0-9CEE-3B2A29DCBD00}" dt="2022-01-27T08:19:11.083" v="151" actId="2696"/>
        <pc:sldMkLst>
          <pc:docMk/>
          <pc:sldMk cId="2561475876" sldId="2096975851"/>
        </pc:sldMkLst>
      </pc:sldChg>
      <pc:sldChg chg="del">
        <pc:chgData name="GSVE (Gianluca Stivale)" userId="b2f3af48-7d3d-4911-89cc-4769d0faa1c3" providerId="ADAL" clId="{290A5970-1EBC-46B0-9CEE-3B2A29DCBD00}" dt="2022-01-14T08:42:07.323" v="25" actId="47"/>
        <pc:sldMkLst>
          <pc:docMk/>
          <pc:sldMk cId="2123215901" sldId="2096975862"/>
        </pc:sldMkLst>
      </pc:sldChg>
      <pc:sldChg chg="addSp delSp modSp mod delAnim">
        <pc:chgData name="GSVE (Gianluca Stivale)" userId="b2f3af48-7d3d-4911-89cc-4769d0faa1c3" providerId="ADAL" clId="{290A5970-1EBC-46B0-9CEE-3B2A29DCBD00}" dt="2022-01-30T11:32:32.147" v="259" actId="478"/>
        <pc:sldMkLst>
          <pc:docMk/>
          <pc:sldMk cId="2678655462" sldId="2096975864"/>
        </pc:sldMkLst>
        <pc:spChg chg="del">
          <ac:chgData name="GSVE (Gianluca Stivale)" userId="b2f3af48-7d3d-4911-89cc-4769d0faa1c3" providerId="ADAL" clId="{290A5970-1EBC-46B0-9CEE-3B2A29DCBD00}" dt="2022-01-30T11:32:32.147" v="259" actId="478"/>
          <ac:spMkLst>
            <pc:docMk/>
            <pc:sldMk cId="2678655462" sldId="2096975864"/>
            <ac:spMk id="18" creationId="{A6624500-5839-4AFB-BB31-FC917043ACDF}"/>
          </ac:spMkLst>
        </pc:spChg>
        <pc:spChg chg="del">
          <ac:chgData name="GSVE (Gianluca Stivale)" userId="b2f3af48-7d3d-4911-89cc-4769d0faa1c3" providerId="ADAL" clId="{290A5970-1EBC-46B0-9CEE-3B2A29DCBD00}" dt="2022-01-30T11:32:32.147" v="259" actId="478"/>
          <ac:spMkLst>
            <pc:docMk/>
            <pc:sldMk cId="2678655462" sldId="2096975864"/>
            <ac:spMk id="19" creationId="{336346B9-2A15-4648-AD5B-D9DDF2F3090A}"/>
          </ac:spMkLst>
        </pc:spChg>
        <pc:picChg chg="add del mod modCrop">
          <ac:chgData name="GSVE (Gianluca Stivale)" userId="b2f3af48-7d3d-4911-89cc-4769d0faa1c3" providerId="ADAL" clId="{290A5970-1EBC-46B0-9CEE-3B2A29DCBD00}" dt="2022-01-30T10:19:01.101" v="197" actId="478"/>
          <ac:picMkLst>
            <pc:docMk/>
            <pc:sldMk cId="2678655462" sldId="2096975864"/>
            <ac:picMk id="3" creationId="{BCBFF56A-DDCA-46D2-B609-7238155853F6}"/>
          </ac:picMkLst>
        </pc:picChg>
      </pc:sldChg>
      <pc:sldChg chg="add">
        <pc:chgData name="GSVE (Gianluca Stivale)" userId="b2f3af48-7d3d-4911-89cc-4769d0faa1c3" providerId="ADAL" clId="{290A5970-1EBC-46B0-9CEE-3B2A29DCBD00}" dt="2022-01-27T19:27:47.713" v="167"/>
        <pc:sldMkLst>
          <pc:docMk/>
          <pc:sldMk cId="572269678" sldId="2096975866"/>
        </pc:sldMkLst>
      </pc:sldChg>
      <pc:sldChg chg="del mod modShow">
        <pc:chgData name="GSVE (Gianluca Stivale)" userId="b2f3af48-7d3d-4911-89cc-4769d0faa1c3" providerId="ADAL" clId="{290A5970-1EBC-46B0-9CEE-3B2A29DCBD00}" dt="2022-01-27T19:27:36.848" v="166" actId="2696"/>
        <pc:sldMkLst>
          <pc:docMk/>
          <pc:sldMk cId="1898674594" sldId="2096975866"/>
        </pc:sldMkLst>
      </pc:sldChg>
      <pc:sldChg chg="ord">
        <pc:chgData name="GSVE (Gianluca Stivale)" userId="b2f3af48-7d3d-4911-89cc-4769d0faa1c3" providerId="ADAL" clId="{290A5970-1EBC-46B0-9CEE-3B2A29DCBD00}" dt="2022-01-27T08:16:51.898" v="133"/>
        <pc:sldMkLst>
          <pc:docMk/>
          <pc:sldMk cId="670756325" sldId="2096975867"/>
        </pc:sldMkLst>
      </pc:sldChg>
      <pc:sldChg chg="ord">
        <pc:chgData name="GSVE (Gianluca Stivale)" userId="b2f3af48-7d3d-4911-89cc-4769d0faa1c3" providerId="ADAL" clId="{290A5970-1EBC-46B0-9CEE-3B2A29DCBD00}" dt="2022-01-27T08:17:13.583" v="136"/>
        <pc:sldMkLst>
          <pc:docMk/>
          <pc:sldMk cId="2675079049" sldId="2096975868"/>
        </pc:sldMkLst>
      </pc:sldChg>
      <pc:sldChg chg="del">
        <pc:chgData name="GSVE (Gianluca Stivale)" userId="b2f3af48-7d3d-4911-89cc-4769d0faa1c3" providerId="ADAL" clId="{290A5970-1EBC-46B0-9CEE-3B2A29DCBD00}" dt="2022-01-26T20:25:50.753" v="82" actId="47"/>
        <pc:sldMkLst>
          <pc:docMk/>
          <pc:sldMk cId="1731534425" sldId="2096975870"/>
        </pc:sldMkLst>
      </pc:sldChg>
      <pc:sldChg chg="mod ord modShow">
        <pc:chgData name="GSVE (Gianluca Stivale)" userId="b2f3af48-7d3d-4911-89cc-4769d0faa1c3" providerId="ADAL" clId="{290A5970-1EBC-46B0-9CEE-3B2A29DCBD00}" dt="2022-01-27T08:17:36.763" v="138"/>
        <pc:sldMkLst>
          <pc:docMk/>
          <pc:sldMk cId="2223235057" sldId="2096975871"/>
        </pc:sldMkLst>
      </pc:sldChg>
      <pc:sldChg chg="mod ord modShow">
        <pc:chgData name="GSVE (Gianluca Stivale)" userId="b2f3af48-7d3d-4911-89cc-4769d0faa1c3" providerId="ADAL" clId="{290A5970-1EBC-46B0-9CEE-3B2A29DCBD00}" dt="2022-01-27T08:17:36.763" v="138"/>
        <pc:sldMkLst>
          <pc:docMk/>
          <pc:sldMk cId="2897088154" sldId="2096975872"/>
        </pc:sldMkLst>
      </pc:sldChg>
      <pc:sldChg chg="ord">
        <pc:chgData name="GSVE (Gianluca Stivale)" userId="b2f3af48-7d3d-4911-89cc-4769d0faa1c3" providerId="ADAL" clId="{290A5970-1EBC-46B0-9CEE-3B2A29DCBD00}" dt="2022-01-27T08:17:36.763" v="138"/>
        <pc:sldMkLst>
          <pc:docMk/>
          <pc:sldMk cId="2608482495" sldId="2096975873"/>
        </pc:sldMkLst>
      </pc:sldChg>
      <pc:sldChg chg="mod ord modShow">
        <pc:chgData name="GSVE (Gianluca Stivale)" userId="b2f3af48-7d3d-4911-89cc-4769d0faa1c3" providerId="ADAL" clId="{290A5970-1EBC-46B0-9CEE-3B2A29DCBD00}" dt="2022-01-27T19:28:02.446" v="170" actId="729"/>
        <pc:sldMkLst>
          <pc:docMk/>
          <pc:sldMk cId="1568060900" sldId="2134804947"/>
        </pc:sldMkLst>
      </pc:sldChg>
      <pc:sldChg chg="add">
        <pc:chgData name="GSVE (Gianluca Stivale)" userId="b2f3af48-7d3d-4911-89cc-4769d0faa1c3" providerId="ADAL" clId="{290A5970-1EBC-46B0-9CEE-3B2A29DCBD00}" dt="2022-01-27T08:19:01.634" v="150"/>
        <pc:sldMkLst>
          <pc:docMk/>
          <pc:sldMk cId="2430409918" sldId="2134959157"/>
        </pc:sldMkLst>
      </pc:sldChg>
      <pc:sldChg chg="add del mod ord modShow">
        <pc:chgData name="GSVE (Gianluca Stivale)" userId="b2f3af48-7d3d-4911-89cc-4769d0faa1c3" providerId="ADAL" clId="{290A5970-1EBC-46B0-9CEE-3B2A29DCBD00}" dt="2022-01-27T08:18:57.346" v="149" actId="2696"/>
        <pc:sldMkLst>
          <pc:docMk/>
          <pc:sldMk cId="4036675726" sldId="2134959157"/>
        </pc:sldMkLst>
      </pc:sldChg>
      <pc:sldChg chg="ord">
        <pc:chgData name="GSVE (Gianluca Stivale)" userId="b2f3af48-7d3d-4911-89cc-4769d0faa1c3" providerId="ADAL" clId="{290A5970-1EBC-46B0-9CEE-3B2A29DCBD00}" dt="2022-01-27T19:28:12.823" v="172"/>
        <pc:sldMkLst>
          <pc:docMk/>
          <pc:sldMk cId="3804314140" sldId="2134959158"/>
        </pc:sldMkLst>
      </pc:sldChg>
      <pc:sldChg chg="mod modShow modNotesTx">
        <pc:chgData name="GSVE (Gianluca Stivale)" userId="b2f3af48-7d3d-4911-89cc-4769d0faa1c3" providerId="ADAL" clId="{290A5970-1EBC-46B0-9CEE-3B2A29DCBD00}" dt="2022-01-14T20:01:10.272" v="45" actId="729"/>
        <pc:sldMkLst>
          <pc:docMk/>
          <pc:sldMk cId="3891720261" sldId="2134959164"/>
        </pc:sldMkLst>
      </pc:sldChg>
      <pc:sldChg chg="del">
        <pc:chgData name="GSVE (Gianluca Stivale)" userId="b2f3af48-7d3d-4911-89cc-4769d0faa1c3" providerId="ADAL" clId="{290A5970-1EBC-46B0-9CEE-3B2A29DCBD00}" dt="2022-01-27T19:25:47.843" v="163" actId="47"/>
        <pc:sldMkLst>
          <pc:docMk/>
          <pc:sldMk cId="111925570" sldId="2134959165"/>
        </pc:sldMkLst>
      </pc:sldChg>
      <pc:sldChg chg="mod modShow">
        <pc:chgData name="GSVE (Gianluca Stivale)" userId="b2f3af48-7d3d-4911-89cc-4769d0faa1c3" providerId="ADAL" clId="{290A5970-1EBC-46B0-9CEE-3B2A29DCBD00}" dt="2022-01-14T20:01:10.272" v="45" actId="729"/>
        <pc:sldMkLst>
          <pc:docMk/>
          <pc:sldMk cId="581497713" sldId="2134959166"/>
        </pc:sldMkLst>
      </pc:sldChg>
      <pc:sldChg chg="mod modShow">
        <pc:chgData name="GSVE (Gianluca Stivale)" userId="b2f3af48-7d3d-4911-89cc-4769d0faa1c3" providerId="ADAL" clId="{290A5970-1EBC-46B0-9CEE-3B2A29DCBD00}" dt="2022-01-14T20:01:14.858" v="46" actId="729"/>
        <pc:sldMkLst>
          <pc:docMk/>
          <pc:sldMk cId="3484418882" sldId="2134959167"/>
        </pc:sldMkLst>
      </pc:sldChg>
      <pc:sldChg chg="ord">
        <pc:chgData name="GSVE (Gianluca Stivale)" userId="b2f3af48-7d3d-4911-89cc-4769d0faa1c3" providerId="ADAL" clId="{290A5970-1EBC-46B0-9CEE-3B2A29DCBD00}" dt="2022-01-27T19:28:12.823" v="172"/>
        <pc:sldMkLst>
          <pc:docMk/>
          <pc:sldMk cId="2835991586" sldId="2134959169"/>
        </pc:sldMkLst>
      </pc:sldChg>
      <pc:sldChg chg="addSp modSp ord">
        <pc:chgData name="GSVE (Gianluca Stivale)" userId="b2f3af48-7d3d-4911-89cc-4769d0faa1c3" providerId="ADAL" clId="{290A5970-1EBC-46B0-9CEE-3B2A29DCBD00}" dt="2022-01-27T19:27:59.778" v="169"/>
        <pc:sldMkLst>
          <pc:docMk/>
          <pc:sldMk cId="896341031" sldId="2134959172"/>
        </pc:sldMkLst>
        <pc:picChg chg="add mod">
          <ac:chgData name="GSVE (Gianluca Stivale)" userId="b2f3af48-7d3d-4911-89cc-4769d0faa1c3" providerId="ADAL" clId="{290A5970-1EBC-46B0-9CEE-3B2A29DCBD00}" dt="2022-01-14T08:20:28.417" v="4"/>
          <ac:picMkLst>
            <pc:docMk/>
            <pc:sldMk cId="896341031" sldId="2134959172"/>
            <ac:picMk id="13" creationId="{875D0ABA-4C88-4E98-9618-3163CBDC4A57}"/>
          </ac:picMkLst>
        </pc:picChg>
        <pc:cxnChg chg="add mod">
          <ac:chgData name="GSVE (Gianluca Stivale)" userId="b2f3af48-7d3d-4911-89cc-4769d0faa1c3" providerId="ADAL" clId="{290A5970-1EBC-46B0-9CEE-3B2A29DCBD00}" dt="2022-01-14T08:20:22.522" v="3"/>
          <ac:cxnSpMkLst>
            <pc:docMk/>
            <pc:sldMk cId="896341031" sldId="2134959172"/>
            <ac:cxnSpMk id="12" creationId="{C76CF8DB-0659-43A2-9393-E388DADD9E0C}"/>
          </ac:cxnSpMkLst>
        </pc:cxnChg>
      </pc:sldChg>
      <pc:sldChg chg="mod modShow">
        <pc:chgData name="GSVE (Gianluca Stivale)" userId="b2f3af48-7d3d-4911-89cc-4769d0faa1c3" providerId="ADAL" clId="{290A5970-1EBC-46B0-9CEE-3B2A29DCBD00}" dt="2022-01-27T19:16:30.013" v="157" actId="729"/>
        <pc:sldMkLst>
          <pc:docMk/>
          <pc:sldMk cId="1966615332" sldId="2134959173"/>
        </pc:sldMkLst>
      </pc:sldChg>
      <pc:sldChg chg="mod modShow">
        <pc:chgData name="GSVE (Gianluca Stivale)" userId="b2f3af48-7d3d-4911-89cc-4769d0faa1c3" providerId="ADAL" clId="{290A5970-1EBC-46B0-9CEE-3B2A29DCBD00}" dt="2022-01-14T20:01:10.272" v="45" actId="729"/>
        <pc:sldMkLst>
          <pc:docMk/>
          <pc:sldMk cId="3372202560" sldId="2134959176"/>
        </pc:sldMkLst>
      </pc:sldChg>
      <pc:sldChg chg="mod modShow">
        <pc:chgData name="GSVE (Gianluca Stivale)" userId="b2f3af48-7d3d-4911-89cc-4769d0faa1c3" providerId="ADAL" clId="{290A5970-1EBC-46B0-9CEE-3B2A29DCBD00}" dt="2022-01-27T19:16:20.832" v="156" actId="729"/>
        <pc:sldMkLst>
          <pc:docMk/>
          <pc:sldMk cId="2736193517" sldId="2134959177"/>
        </pc:sldMkLst>
      </pc:sldChg>
      <pc:sldChg chg="ord">
        <pc:chgData name="GSVE (Gianluca Stivale)" userId="b2f3af48-7d3d-4911-89cc-4769d0faa1c3" providerId="ADAL" clId="{290A5970-1EBC-46B0-9CEE-3B2A29DCBD00}" dt="2022-01-27T19:27:59.778" v="169"/>
        <pc:sldMkLst>
          <pc:docMk/>
          <pc:sldMk cId="4164796302" sldId="2134959179"/>
        </pc:sldMkLst>
      </pc:sldChg>
      <pc:sldChg chg="add del">
        <pc:chgData name="GSVE (Gianluca Stivale)" userId="b2f3af48-7d3d-4911-89cc-4769d0faa1c3" providerId="ADAL" clId="{290A5970-1EBC-46B0-9CEE-3B2A29DCBD00}" dt="2022-01-14T11:43:46.239" v="37" actId="47"/>
        <pc:sldMkLst>
          <pc:docMk/>
          <pc:sldMk cId="653384216" sldId="2134959180"/>
        </pc:sldMkLst>
      </pc:sldChg>
      <pc:sldChg chg="del">
        <pc:chgData name="GSVE (Gianluca Stivale)" userId="b2f3af48-7d3d-4911-89cc-4769d0faa1c3" providerId="ADAL" clId="{290A5970-1EBC-46B0-9CEE-3B2A29DCBD00}" dt="2022-01-14T08:40:23.035" v="20" actId="47"/>
        <pc:sldMkLst>
          <pc:docMk/>
          <pc:sldMk cId="1083601055" sldId="2134959180"/>
        </pc:sldMkLst>
      </pc:sldChg>
      <pc:sldChg chg="add del">
        <pc:chgData name="GSVE (Gianluca Stivale)" userId="b2f3af48-7d3d-4911-89cc-4769d0faa1c3" providerId="ADAL" clId="{290A5970-1EBC-46B0-9CEE-3B2A29DCBD00}" dt="2022-01-14T09:44:23.634" v="35" actId="47"/>
        <pc:sldMkLst>
          <pc:docMk/>
          <pc:sldMk cId="1404353785" sldId="2134959181"/>
        </pc:sldMkLst>
      </pc:sldChg>
      <pc:sldChg chg="add del modNotesTx">
        <pc:chgData name="GSVE (Gianluca Stivale)" userId="b2f3af48-7d3d-4911-89cc-4769d0faa1c3" providerId="ADAL" clId="{290A5970-1EBC-46B0-9CEE-3B2A29DCBD00}" dt="2022-01-14T09:25:17.256" v="33" actId="47"/>
        <pc:sldMkLst>
          <pc:docMk/>
          <pc:sldMk cId="2899262358" sldId="2134959182"/>
        </pc:sldMkLst>
      </pc:sldChg>
      <pc:sldChg chg="modSp add mod ord">
        <pc:chgData name="GSVE (Gianluca Stivale)" userId="b2f3af48-7d3d-4911-89cc-4769d0faa1c3" providerId="ADAL" clId="{290A5970-1EBC-46B0-9CEE-3B2A29DCBD00}" dt="2022-01-27T08:16:35.871" v="131"/>
        <pc:sldMkLst>
          <pc:docMk/>
          <pc:sldMk cId="2390451640" sldId="2134959183"/>
        </pc:sldMkLst>
        <pc:spChg chg="mod">
          <ac:chgData name="GSVE (Gianluca Stivale)" userId="b2f3af48-7d3d-4911-89cc-4769d0faa1c3" providerId="ADAL" clId="{290A5970-1EBC-46B0-9CEE-3B2A29DCBD00}" dt="2022-01-19T22:48:22.369" v="74"/>
          <ac:spMkLst>
            <pc:docMk/>
            <pc:sldMk cId="2390451640" sldId="2134959183"/>
            <ac:spMk id="39" creationId="{909F86D3-AE10-4EF4-84D1-0A28193EFD0B}"/>
          </ac:spMkLst>
        </pc:spChg>
      </pc:sldChg>
      <pc:sldChg chg="modSp add del mod">
        <pc:chgData name="GSVE (Gianluca Stivale)" userId="b2f3af48-7d3d-4911-89cc-4769d0faa1c3" providerId="ADAL" clId="{290A5970-1EBC-46B0-9CEE-3B2A29DCBD00}" dt="2022-01-14T08:41:14.251" v="23" actId="47"/>
        <pc:sldMkLst>
          <pc:docMk/>
          <pc:sldMk cId="2420080442" sldId="2134959184"/>
        </pc:sldMkLst>
        <pc:spChg chg="mod">
          <ac:chgData name="GSVE (Gianluca Stivale)" userId="b2f3af48-7d3d-4911-89cc-4769d0faa1c3" providerId="ADAL" clId="{290A5970-1EBC-46B0-9CEE-3B2A29DCBD00}" dt="2022-01-14T08:40:42.485" v="21" actId="1076"/>
          <ac:spMkLst>
            <pc:docMk/>
            <pc:sldMk cId="2420080442" sldId="2134959184"/>
            <ac:spMk id="9" creationId="{B40EB1E2-2636-44D8-B95E-EC0E2A7A53BC}"/>
          </ac:spMkLst>
        </pc:spChg>
      </pc:sldChg>
      <pc:sldChg chg="add mod modShow">
        <pc:chgData name="GSVE (Gianluca Stivale)" userId="b2f3af48-7d3d-4911-89cc-4769d0faa1c3" providerId="ADAL" clId="{290A5970-1EBC-46B0-9CEE-3B2A29DCBD00}" dt="2022-01-14T08:41:16.660" v="24" actId="729"/>
        <pc:sldMkLst>
          <pc:docMk/>
          <pc:sldMk cId="858156001" sldId="2134959185"/>
        </pc:sldMkLst>
      </pc:sldChg>
      <pc:sldChg chg="add modAnim">
        <pc:chgData name="GSVE (Gianluca Stivale)" userId="b2f3af48-7d3d-4911-89cc-4769d0faa1c3" providerId="ADAL" clId="{290A5970-1EBC-46B0-9CEE-3B2A29DCBD00}" dt="2022-01-14T19:59:13.203" v="44"/>
        <pc:sldMkLst>
          <pc:docMk/>
          <pc:sldMk cId="3210525646" sldId="2134959186"/>
        </pc:sldMkLst>
      </pc:sldChg>
      <pc:sldChg chg="add del">
        <pc:chgData name="GSVE (Gianluca Stivale)" userId="b2f3af48-7d3d-4911-89cc-4769d0faa1c3" providerId="ADAL" clId="{290A5970-1EBC-46B0-9CEE-3B2A29DCBD00}" dt="2022-01-14T11:43:46.239" v="37" actId="47"/>
        <pc:sldMkLst>
          <pc:docMk/>
          <pc:sldMk cId="376058701" sldId="2134959187"/>
        </pc:sldMkLst>
      </pc:sldChg>
      <pc:sldChg chg="modSp add mod">
        <pc:chgData name="GSVE (Gianluca Stivale)" userId="b2f3af48-7d3d-4911-89cc-4769d0faa1c3" providerId="ADAL" clId="{290A5970-1EBC-46B0-9CEE-3B2A29DCBD00}" dt="2022-01-27T08:15:14.122" v="112" actId="1076"/>
        <pc:sldMkLst>
          <pc:docMk/>
          <pc:sldMk cId="1404353785" sldId="2134959188"/>
        </pc:sldMkLst>
        <pc:spChg chg="mod">
          <ac:chgData name="GSVE (Gianluca Stivale)" userId="b2f3af48-7d3d-4911-89cc-4769d0faa1c3" providerId="ADAL" clId="{290A5970-1EBC-46B0-9CEE-3B2A29DCBD00}" dt="2022-01-27T08:15:14.122" v="112" actId="1076"/>
          <ac:spMkLst>
            <pc:docMk/>
            <pc:sldMk cId="1404353785" sldId="2134959188"/>
            <ac:spMk id="13" creationId="{4415F211-59A1-4129-A544-ED0E4B567FF5}"/>
          </ac:spMkLst>
        </pc:spChg>
      </pc:sldChg>
      <pc:sldChg chg="add">
        <pc:chgData name="GSVE (Gianluca Stivale)" userId="b2f3af48-7d3d-4911-89cc-4769d0faa1c3" providerId="ADAL" clId="{290A5970-1EBC-46B0-9CEE-3B2A29DCBD00}" dt="2022-01-14T14:54:53.538" v="38"/>
        <pc:sldMkLst>
          <pc:docMk/>
          <pc:sldMk cId="3811804798" sldId="2134959189"/>
        </pc:sldMkLst>
      </pc:sldChg>
      <pc:sldChg chg="add">
        <pc:chgData name="GSVE (Gianluca Stivale)" userId="b2f3af48-7d3d-4911-89cc-4769d0faa1c3" providerId="ADAL" clId="{290A5970-1EBC-46B0-9CEE-3B2A29DCBD00}" dt="2022-01-26T20:25:48.065" v="81"/>
        <pc:sldMkLst>
          <pc:docMk/>
          <pc:sldMk cId="3788759727" sldId="2134959190"/>
        </pc:sldMkLst>
      </pc:sldChg>
      <pc:sldChg chg="addSp modSp add mod modAnim modShow modNotesTx">
        <pc:chgData name="GSVE (Gianluca Stivale)" userId="b2f3af48-7d3d-4911-89cc-4769d0faa1c3" providerId="ADAL" clId="{290A5970-1EBC-46B0-9CEE-3B2A29DCBD00}" dt="2022-01-30T10:38:23.699" v="198"/>
        <pc:sldMkLst>
          <pc:docMk/>
          <pc:sldMk cId="3690390280" sldId="2134959191"/>
        </pc:sldMkLst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15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16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17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18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19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0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3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4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6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7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29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0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2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3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5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6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8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39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42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44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45" creationId="{00000000-0000-0000-0000-00000000000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47" creationId="{00000000-0000-0000-0000-000000000000}"/>
          </ac:spMkLst>
        </pc:spChg>
        <pc:spChg chg="add mod">
          <ac:chgData name="GSVE (Gianluca Stivale)" userId="b2f3af48-7d3d-4911-89cc-4769d0faa1c3" providerId="ADAL" clId="{290A5970-1EBC-46B0-9CEE-3B2A29DCBD00}" dt="2022-01-27T08:16:22.191" v="129" actId="1076"/>
          <ac:spMkLst>
            <pc:docMk/>
            <pc:sldMk cId="3690390280" sldId="2134959191"/>
            <ac:spMk id="49" creationId="{B8DE91B1-1863-4922-9EA7-B5D8AB31443F}"/>
          </ac:spMkLst>
        </pc:spChg>
        <pc:spChg chg="add mod">
          <ac:chgData name="GSVE (Gianluca Stivale)" userId="b2f3af48-7d3d-4911-89cc-4769d0faa1c3" providerId="ADAL" clId="{290A5970-1EBC-46B0-9CEE-3B2A29DCBD00}" dt="2022-01-27T08:16:22.191" v="129" actId="1076"/>
          <ac:spMkLst>
            <pc:docMk/>
            <pc:sldMk cId="3690390280" sldId="2134959191"/>
            <ac:spMk id="50" creationId="{7E8DE7A1-A29D-45AE-AC17-47250E4257A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62" creationId="{D71FE885-8EDB-406C-859E-ADE733E58D60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63" creationId="{FEE0C742-E98B-4ABE-AEBF-2550359603E4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64" creationId="{9C6E656B-E68C-4859-AAD1-A84BDD7064AA}"/>
          </ac:spMkLst>
        </pc:spChg>
        <pc:spChg chg="mod">
          <ac:chgData name="GSVE (Gianluca Stivale)" userId="b2f3af48-7d3d-4911-89cc-4769d0faa1c3" providerId="ADAL" clId="{290A5970-1EBC-46B0-9CEE-3B2A29DCBD00}" dt="2022-01-27T08:16:12.694" v="128" actId="1036"/>
          <ac:spMkLst>
            <pc:docMk/>
            <pc:sldMk cId="3690390280" sldId="2134959191"/>
            <ac:spMk id="65" creationId="{84CEA51F-F04D-4A9C-8167-2AAC44307AE5}"/>
          </ac:spMkLst>
        </pc:s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22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25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28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31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34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37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43" creationId="{00000000-0000-0000-0000-000000000000}"/>
          </ac:grpSpMkLst>
        </pc:grpChg>
        <pc:grpChg chg="mod">
          <ac:chgData name="GSVE (Gianluca Stivale)" userId="b2f3af48-7d3d-4911-89cc-4769d0faa1c3" providerId="ADAL" clId="{290A5970-1EBC-46B0-9CEE-3B2A29DCBD00}" dt="2022-01-27T08:16:12.694" v="128" actId="1036"/>
          <ac:grpSpMkLst>
            <pc:docMk/>
            <pc:sldMk cId="3690390280" sldId="2134959191"/>
            <ac:grpSpMk id="61" creationId="{0664538C-D6B9-409A-B06A-4233E644165F}"/>
          </ac:grpSpMkLst>
        </pc:grpChg>
        <pc:graphicFrameChg chg="mod">
          <ac:chgData name="GSVE (Gianluca Stivale)" userId="b2f3af48-7d3d-4911-89cc-4769d0faa1c3" providerId="ADAL" clId="{290A5970-1EBC-46B0-9CEE-3B2A29DCBD00}" dt="2022-01-27T08:16:12.694" v="128" actId="1036"/>
          <ac:graphicFrameMkLst>
            <pc:docMk/>
            <pc:sldMk cId="3690390280" sldId="2134959191"/>
            <ac:graphicFrameMk id="41" creationId="{00000000-0000-0000-0000-000000000000}"/>
          </ac:graphicFrameMkLst>
        </pc:graphicFrameChg>
        <pc:picChg chg="add mod">
          <ac:chgData name="GSVE (Gianluca Stivale)" userId="b2f3af48-7d3d-4911-89cc-4769d0faa1c3" providerId="ADAL" clId="{290A5970-1EBC-46B0-9CEE-3B2A29DCBD00}" dt="2022-01-27T08:16:22.191" v="129" actId="1076"/>
          <ac:picMkLst>
            <pc:docMk/>
            <pc:sldMk cId="3690390280" sldId="2134959191"/>
            <ac:picMk id="48" creationId="{D8F6D64A-BC47-44CA-A87A-25B4E73D321A}"/>
          </ac:picMkLst>
        </pc:picChg>
      </pc:sldChg>
      <pc:sldChg chg="add mod modShow">
        <pc:chgData name="GSVE (Gianluca Stivale)" userId="b2f3af48-7d3d-4911-89cc-4769d0faa1c3" providerId="ADAL" clId="{290A5970-1EBC-46B0-9CEE-3B2A29DCBD00}" dt="2022-01-27T19:25:54.707" v="164" actId="729"/>
        <pc:sldMkLst>
          <pc:docMk/>
          <pc:sldMk cId="3217201726" sldId="2134959192"/>
        </pc:sldMkLst>
      </pc:sldChg>
      <pc:sldChg chg="addSp modSp mod modAnim modNotesTx">
        <pc:chgData name="GSVE (Gianluca Stivale)" userId="b2f3af48-7d3d-4911-89cc-4769d0faa1c3" providerId="ADAL" clId="{290A5970-1EBC-46B0-9CEE-3B2A29DCBD00}" dt="2022-01-30T11:18:18.259" v="258" actId="166"/>
        <pc:sldMkLst>
          <pc:docMk/>
          <pc:sldMk cId="2614460175" sldId="2134959195"/>
        </pc:sldMkLst>
        <pc:spChg chg="mod ord">
          <ac:chgData name="GSVE (Gianluca Stivale)" userId="b2f3af48-7d3d-4911-89cc-4769d0faa1c3" providerId="ADAL" clId="{290A5970-1EBC-46B0-9CEE-3B2A29DCBD00}" dt="2022-01-30T11:18:15.121" v="257" actId="166"/>
          <ac:spMkLst>
            <pc:docMk/>
            <pc:sldMk cId="2614460175" sldId="2134959195"/>
            <ac:spMk id="6" creationId="{87874F21-ADF6-433B-879E-A242213CA4C8}"/>
          </ac:spMkLst>
        </pc:spChg>
        <pc:spChg chg="add mod ord">
          <ac:chgData name="GSVE (Gianluca Stivale)" userId="b2f3af48-7d3d-4911-89cc-4769d0faa1c3" providerId="ADAL" clId="{290A5970-1EBC-46B0-9CEE-3B2A29DCBD00}" dt="2022-01-30T11:17:53.740" v="253" actId="167"/>
          <ac:spMkLst>
            <pc:docMk/>
            <pc:sldMk cId="2614460175" sldId="2134959195"/>
            <ac:spMk id="9" creationId="{D6CC4C4E-3C3E-46BE-84DA-6035121028DC}"/>
          </ac:spMkLst>
        </pc:spChg>
        <pc:spChg chg="mod ord">
          <ac:chgData name="GSVE (Gianluca Stivale)" userId="b2f3af48-7d3d-4911-89cc-4769d0faa1c3" providerId="ADAL" clId="{290A5970-1EBC-46B0-9CEE-3B2A29DCBD00}" dt="2022-01-30T11:18:02.833" v="254" actId="167"/>
          <ac:spMkLst>
            <pc:docMk/>
            <pc:sldMk cId="2614460175" sldId="2134959195"/>
            <ac:spMk id="15" creationId="{7A43F7B6-556B-4011-8EC5-DEF4EC8C842F}"/>
          </ac:spMkLst>
        </pc:spChg>
        <pc:spChg chg="add mod ord">
          <ac:chgData name="GSVE (Gianluca Stivale)" userId="b2f3af48-7d3d-4911-89cc-4769d0faa1c3" providerId="ADAL" clId="{290A5970-1EBC-46B0-9CEE-3B2A29DCBD00}" dt="2022-01-30T11:17:53.740" v="253" actId="167"/>
          <ac:spMkLst>
            <pc:docMk/>
            <pc:sldMk cId="2614460175" sldId="2134959195"/>
            <ac:spMk id="19" creationId="{8129D05A-3C09-44D9-A3C9-63BA61A22177}"/>
          </ac:spMkLst>
        </pc:spChg>
        <pc:spChg chg="mod ord">
          <ac:chgData name="GSVE (Gianluca Stivale)" userId="b2f3af48-7d3d-4911-89cc-4769d0faa1c3" providerId="ADAL" clId="{290A5970-1EBC-46B0-9CEE-3B2A29DCBD00}" dt="2022-01-30T11:18:18.259" v="258" actId="166"/>
          <ac:spMkLst>
            <pc:docMk/>
            <pc:sldMk cId="2614460175" sldId="2134959195"/>
            <ac:spMk id="42" creationId="{64DE2BC7-24A2-44B9-8BEF-C293E63AC444}"/>
          </ac:spMkLst>
        </pc:spChg>
        <pc:picChg chg="mod ord">
          <ac:chgData name="GSVE (Gianluca Stivale)" userId="b2f3af48-7d3d-4911-89cc-4769d0faa1c3" providerId="ADAL" clId="{290A5970-1EBC-46B0-9CEE-3B2A29DCBD00}" dt="2022-01-30T11:18:04.844" v="255" actId="167"/>
          <ac:picMkLst>
            <pc:docMk/>
            <pc:sldMk cId="2614460175" sldId="2134959195"/>
            <ac:picMk id="5" creationId="{95CF4A75-B5F4-43B1-9ED3-C41DB10ACF92}"/>
          </ac:picMkLst>
        </pc:picChg>
        <pc:cxnChg chg="add mod ord">
          <ac:chgData name="GSVE (Gianluca Stivale)" userId="b2f3af48-7d3d-4911-89cc-4769d0faa1c3" providerId="ADAL" clId="{290A5970-1EBC-46B0-9CEE-3B2A29DCBD00}" dt="2022-01-30T11:17:53.740" v="253" actId="167"/>
          <ac:cxnSpMkLst>
            <pc:docMk/>
            <pc:sldMk cId="2614460175" sldId="2134959195"/>
            <ac:cxnSpMk id="13" creationId="{F9396914-4D7C-49FE-B2D0-81971F1475BE}"/>
          </ac:cxnSpMkLst>
        </pc:cxnChg>
        <pc:cxnChg chg="add mod ord">
          <ac:chgData name="GSVE (Gianluca Stivale)" userId="b2f3af48-7d3d-4911-89cc-4769d0faa1c3" providerId="ADAL" clId="{290A5970-1EBC-46B0-9CEE-3B2A29DCBD00}" dt="2022-01-30T11:17:53.740" v="253" actId="167"/>
          <ac:cxnSpMkLst>
            <pc:docMk/>
            <pc:sldMk cId="2614460175" sldId="2134959195"/>
            <ac:cxnSpMk id="14" creationId="{F03DDAFC-98B0-4487-9571-A9EAFB82848D}"/>
          </ac:cxnSpMkLst>
        </pc:cxnChg>
      </pc:sldChg>
      <pc:sldChg chg="addSp modSp mod modShow">
        <pc:chgData name="GSVE (Gianluca Stivale)" userId="b2f3af48-7d3d-4911-89cc-4769d0faa1c3" providerId="ADAL" clId="{290A5970-1EBC-46B0-9CEE-3B2A29DCBD00}" dt="2022-01-30T10:13:06.100" v="182" actId="1582"/>
        <pc:sldMkLst>
          <pc:docMk/>
          <pc:sldMk cId="1747793347" sldId="2134959196"/>
        </pc:sldMkLst>
        <pc:spChg chg="add mod">
          <ac:chgData name="GSVE (Gianluca Stivale)" userId="b2f3af48-7d3d-4911-89cc-4769d0faa1c3" providerId="ADAL" clId="{290A5970-1EBC-46B0-9CEE-3B2A29DCBD00}" dt="2022-01-30T10:13:06.100" v="182" actId="1582"/>
          <ac:spMkLst>
            <pc:docMk/>
            <pc:sldMk cId="1747793347" sldId="2134959196"/>
            <ac:spMk id="2" creationId="{B583C846-1362-451B-B25B-FF9C48CE9C20}"/>
          </ac:spMkLst>
        </pc:spChg>
      </pc:sldChg>
    </pc:docChg>
  </pc:docChgLst>
  <pc:docChgLst>
    <pc:chgData name="GSVE (Gianluca Stivale)" userId="b2f3af48-7d3d-4911-89cc-4769d0faa1c3" providerId="ADAL" clId="{4114449D-F7BD-4123-A226-2F839F39AC66}"/>
    <pc:docChg chg="undo redo custSel addSld delSld modSld sldOrd">
      <pc:chgData name="GSVE (Gianluca Stivale)" userId="b2f3af48-7d3d-4911-89cc-4769d0faa1c3" providerId="ADAL" clId="{4114449D-F7BD-4123-A226-2F839F39AC66}" dt="2021-12-10T16:52:06.065" v="386" actId="478"/>
      <pc:docMkLst>
        <pc:docMk/>
      </pc:docMkLst>
      <pc:sldChg chg="modSp add mod modShow">
        <pc:chgData name="GSVE (Gianluca Stivale)" userId="b2f3af48-7d3d-4911-89cc-4769d0faa1c3" providerId="ADAL" clId="{4114449D-F7BD-4123-A226-2F839F39AC66}" dt="2021-12-10T16:24:20.951" v="225"/>
        <pc:sldMkLst>
          <pc:docMk/>
          <pc:sldMk cId="3331359904" sldId="266"/>
        </pc:sldMkLst>
        <pc:spChg chg="mod">
          <ac:chgData name="GSVE (Gianluca Stivale)" userId="b2f3af48-7d3d-4911-89cc-4769d0faa1c3" providerId="ADAL" clId="{4114449D-F7BD-4123-A226-2F839F39AC66}" dt="2021-12-10T16:24:20.951" v="225"/>
          <ac:spMkLst>
            <pc:docMk/>
            <pc:sldMk cId="3331359904" sldId="266"/>
            <ac:spMk id="3" creationId="{00000000-0000-0000-0000-000000000000}"/>
          </ac:spMkLst>
        </pc:spChg>
      </pc:sldChg>
      <pc:sldChg chg="modSp add mod modShow">
        <pc:chgData name="GSVE (Gianluca Stivale)" userId="b2f3af48-7d3d-4911-89cc-4769d0faa1c3" providerId="ADAL" clId="{4114449D-F7BD-4123-A226-2F839F39AC66}" dt="2021-12-10T16:24:59.480" v="229" actId="729"/>
        <pc:sldMkLst>
          <pc:docMk/>
          <pc:sldMk cId="161052172" sldId="270"/>
        </pc:sldMkLst>
        <pc:spChg chg="mod">
          <ac:chgData name="GSVE (Gianluca Stivale)" userId="b2f3af48-7d3d-4911-89cc-4769d0faa1c3" providerId="ADAL" clId="{4114449D-F7BD-4123-A226-2F839F39AC66}" dt="2021-12-10T16:24:57.191" v="228"/>
          <ac:spMkLst>
            <pc:docMk/>
            <pc:sldMk cId="161052172" sldId="270"/>
            <ac:spMk id="3" creationId="{00000000-0000-0000-0000-000000000000}"/>
          </ac:spMkLst>
        </pc:spChg>
      </pc:sldChg>
      <pc:sldChg chg="addSp delSp modSp add mod">
        <pc:chgData name="GSVE (Gianluca Stivale)" userId="b2f3af48-7d3d-4911-89cc-4769d0faa1c3" providerId="ADAL" clId="{4114449D-F7BD-4123-A226-2F839F39AC66}" dt="2021-12-10T16:52:06.065" v="386" actId="478"/>
        <pc:sldMkLst>
          <pc:docMk/>
          <pc:sldMk cId="2145701540" sldId="311"/>
        </pc:sldMkLst>
        <pc:spChg chg="del">
          <ac:chgData name="GSVE (Gianluca Stivale)" userId="b2f3af48-7d3d-4911-89cc-4769d0faa1c3" providerId="ADAL" clId="{4114449D-F7BD-4123-A226-2F839F39AC66}" dt="2021-12-10T16:52:06.065" v="386" actId="478"/>
          <ac:spMkLst>
            <pc:docMk/>
            <pc:sldMk cId="2145701540" sldId="311"/>
            <ac:spMk id="12" creationId="{00000000-0000-0000-0000-000000000000}"/>
          </ac:spMkLst>
        </pc:spChg>
        <pc:spChg chg="add del">
          <ac:chgData name="GSVE (Gianluca Stivale)" userId="b2f3af48-7d3d-4911-89cc-4769d0faa1c3" providerId="ADAL" clId="{4114449D-F7BD-4123-A226-2F839F39AC66}" dt="2021-12-10T16:51:56.266" v="383" actId="22"/>
          <ac:spMkLst>
            <pc:docMk/>
            <pc:sldMk cId="2145701540" sldId="311"/>
            <ac:spMk id="14" creationId="{CD62882D-CC4E-43F6-A8C2-E20EFA9F0E38}"/>
          </ac:spMkLst>
        </pc:spChg>
        <pc:spChg chg="add mod">
          <ac:chgData name="GSVE (Gianluca Stivale)" userId="b2f3af48-7d3d-4911-89cc-4769d0faa1c3" providerId="ADAL" clId="{4114449D-F7BD-4123-A226-2F839F39AC66}" dt="2021-12-10T16:52:03.299" v="385"/>
          <ac:spMkLst>
            <pc:docMk/>
            <pc:sldMk cId="2145701540" sldId="311"/>
            <ac:spMk id="15" creationId="{AEB1AAA4-3B29-4650-BC5D-A663CDC3E230}"/>
          </ac:spMkLst>
        </pc:spChg>
      </pc:sldChg>
      <pc:sldChg chg="addSp delSp modSp add mod">
        <pc:chgData name="GSVE (Gianluca Stivale)" userId="b2f3af48-7d3d-4911-89cc-4769d0faa1c3" providerId="ADAL" clId="{4114449D-F7BD-4123-A226-2F839F39AC66}" dt="2021-12-10T16:23:15.197" v="207"/>
        <pc:sldMkLst>
          <pc:docMk/>
          <pc:sldMk cId="286228447" sldId="680"/>
        </pc:sldMkLst>
        <pc:spChg chg="del mod">
          <ac:chgData name="GSVE (Gianluca Stivale)" userId="b2f3af48-7d3d-4911-89cc-4769d0faa1c3" providerId="ADAL" clId="{4114449D-F7BD-4123-A226-2F839F39AC66}" dt="2021-12-10T16:23:12.338" v="205" actId="478"/>
          <ac:spMkLst>
            <pc:docMk/>
            <pc:sldMk cId="286228447" sldId="680"/>
            <ac:spMk id="27" creationId="{00000000-0000-0000-0000-000000000000}"/>
          </ac:spMkLst>
        </pc:spChg>
        <pc:spChg chg="add mod">
          <ac:chgData name="GSVE (Gianluca Stivale)" userId="b2f3af48-7d3d-4911-89cc-4769d0faa1c3" providerId="ADAL" clId="{4114449D-F7BD-4123-A226-2F839F39AC66}" dt="2021-12-10T16:21:16.900" v="187" actId="5793"/>
          <ac:spMkLst>
            <pc:docMk/>
            <pc:sldMk cId="286228447" sldId="680"/>
            <ac:spMk id="28" creationId="{772E7209-E41A-4723-BB31-688878A361D5}"/>
          </ac:spMkLst>
        </pc:spChg>
        <pc:spChg chg="add mod">
          <ac:chgData name="GSVE (Gianluca Stivale)" userId="b2f3af48-7d3d-4911-89cc-4769d0faa1c3" providerId="ADAL" clId="{4114449D-F7BD-4123-A226-2F839F39AC66}" dt="2021-12-10T16:21:40.043" v="192" actId="20577"/>
          <ac:spMkLst>
            <pc:docMk/>
            <pc:sldMk cId="286228447" sldId="680"/>
            <ac:spMk id="29" creationId="{95BD9AA3-5B51-43DF-B2F0-FA2B803E95C5}"/>
          </ac:spMkLst>
        </pc:spChg>
        <pc:spChg chg="add mod">
          <ac:chgData name="GSVE (Gianluca Stivale)" userId="b2f3af48-7d3d-4911-89cc-4769d0faa1c3" providerId="ADAL" clId="{4114449D-F7BD-4123-A226-2F839F39AC66}" dt="2021-12-10T16:23:15.197" v="207"/>
          <ac:spMkLst>
            <pc:docMk/>
            <pc:sldMk cId="286228447" sldId="680"/>
            <ac:spMk id="30" creationId="{C4CB798C-2B7F-4748-B9B1-0F03E9DAF55D}"/>
          </ac:spMkLst>
        </pc:spChg>
        <pc:spChg chg="del mod">
          <ac:chgData name="GSVE (Gianluca Stivale)" userId="b2f3af48-7d3d-4911-89cc-4769d0faa1c3" providerId="ADAL" clId="{4114449D-F7BD-4123-A226-2F839F39AC66}" dt="2021-12-10T16:23:14.967" v="206" actId="478"/>
          <ac:spMkLst>
            <pc:docMk/>
            <pc:sldMk cId="286228447" sldId="680"/>
            <ac:spMk id="58" creationId="{00000000-0000-0000-0000-000000000000}"/>
          </ac:spMkLst>
        </pc:spChg>
      </pc:sldChg>
      <pc:sldChg chg="addSp delSp modSp add mod">
        <pc:chgData name="GSVE (Gianluca Stivale)" userId="b2f3af48-7d3d-4911-89cc-4769d0faa1c3" providerId="ADAL" clId="{4114449D-F7BD-4123-A226-2F839F39AC66}" dt="2021-12-10T16:23:24.351" v="222" actId="1035"/>
        <pc:sldMkLst>
          <pc:docMk/>
          <pc:sldMk cId="404904448" sldId="683"/>
        </pc:sldMkLst>
        <pc:spChg chg="add mod">
          <ac:chgData name="GSVE (Gianluca Stivale)" userId="b2f3af48-7d3d-4911-89cc-4769d0faa1c3" providerId="ADAL" clId="{4114449D-F7BD-4123-A226-2F839F39AC66}" dt="2021-12-10T16:22:13.136" v="197" actId="6549"/>
          <ac:spMkLst>
            <pc:docMk/>
            <pc:sldMk cId="404904448" sldId="683"/>
            <ac:spMk id="23" creationId="{D68A5628-0911-4018-9FE2-6B01A82DAB4A}"/>
          </ac:spMkLst>
        </pc:spChg>
        <pc:spChg chg="add mod">
          <ac:chgData name="GSVE (Gianluca Stivale)" userId="b2f3af48-7d3d-4911-89cc-4769d0faa1c3" providerId="ADAL" clId="{4114449D-F7BD-4123-A226-2F839F39AC66}" dt="2021-12-10T16:22:55.262" v="203" actId="1076"/>
          <ac:spMkLst>
            <pc:docMk/>
            <pc:sldMk cId="404904448" sldId="683"/>
            <ac:spMk id="24" creationId="{E238EF1D-B53D-4147-8D26-E54C13F9450A}"/>
          </ac:spMkLst>
        </pc:spChg>
        <pc:spChg chg="add mod">
          <ac:chgData name="GSVE (Gianluca Stivale)" userId="b2f3af48-7d3d-4911-89cc-4769d0faa1c3" providerId="ADAL" clId="{4114449D-F7BD-4123-A226-2F839F39AC66}" dt="2021-12-10T16:23:16.407" v="208"/>
          <ac:spMkLst>
            <pc:docMk/>
            <pc:sldMk cId="404904448" sldId="683"/>
            <ac:spMk id="25" creationId="{F60C22AA-3A23-4F51-B1E0-49CB7CDE829C}"/>
          </ac:spMkLst>
        </pc:spChg>
        <pc:spChg chg="del mod">
          <ac:chgData name="GSVE (Gianluca Stivale)" userId="b2f3af48-7d3d-4911-89cc-4769d0faa1c3" providerId="ADAL" clId="{4114449D-F7BD-4123-A226-2F839F39AC66}" dt="2021-12-10T16:22:14.302" v="198" actId="478"/>
          <ac:spMkLst>
            <pc:docMk/>
            <pc:sldMk cId="404904448" sldId="683"/>
            <ac:spMk id="43" creationId="{00000000-0000-0000-0000-000000000000}"/>
          </ac:spMkLst>
        </pc:spChg>
        <pc:spChg chg="del mod">
          <ac:chgData name="GSVE (Gianluca Stivale)" userId="b2f3af48-7d3d-4911-89cc-4769d0faa1c3" providerId="ADAL" clId="{4114449D-F7BD-4123-A226-2F839F39AC66}" dt="2021-12-10T16:23:05.850" v="204" actId="478"/>
          <ac:spMkLst>
            <pc:docMk/>
            <pc:sldMk cId="404904448" sldId="683"/>
            <ac:spMk id="4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92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93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94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95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103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105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111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72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73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74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75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76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23:24.351" v="222" actId="1035"/>
          <ac:spMkLst>
            <pc:docMk/>
            <pc:sldMk cId="404904448" sldId="683"/>
            <ac:spMk id="86080" creationId="{00000000-0000-0000-0000-000000000000}"/>
          </ac:spMkLst>
        </pc:spChg>
        <pc:grpChg chg="mod">
          <ac:chgData name="GSVE (Gianluca Stivale)" userId="b2f3af48-7d3d-4911-89cc-4769d0faa1c3" providerId="ADAL" clId="{4114449D-F7BD-4123-A226-2F839F39AC66}" dt="2021-12-10T16:23:24.351" v="222" actId="1035"/>
          <ac:grpSpMkLst>
            <pc:docMk/>
            <pc:sldMk cId="404904448" sldId="683"/>
            <ac:grpSpMk id="11" creationId="{00000000-0000-0000-0000-000000000000}"/>
          </ac:grpSpMkLst>
        </pc:grpChg>
        <pc:graphicFrameChg chg="mod">
          <ac:chgData name="GSVE (Gianluca Stivale)" userId="b2f3af48-7d3d-4911-89cc-4769d0faa1c3" providerId="ADAL" clId="{4114449D-F7BD-4123-A226-2F839F39AC66}" dt="2021-12-10T16:23:24.351" v="222" actId="1035"/>
          <ac:graphicFrameMkLst>
            <pc:docMk/>
            <pc:sldMk cId="404904448" sldId="683"/>
            <ac:graphicFrameMk id="100" creationId="{00000000-0000-0000-0000-000000000000}"/>
          </ac:graphicFrameMkLst>
        </pc:graphicFrameChg>
        <pc:cxnChg chg="mod">
          <ac:chgData name="GSVE (Gianluca Stivale)" userId="b2f3af48-7d3d-4911-89cc-4769d0faa1c3" providerId="ADAL" clId="{4114449D-F7BD-4123-A226-2F839F39AC66}" dt="2021-12-10T16:23:24.351" v="222" actId="1035"/>
          <ac:cxnSpMkLst>
            <pc:docMk/>
            <pc:sldMk cId="404904448" sldId="683"/>
            <ac:cxnSpMk id="107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23:24.351" v="222" actId="1035"/>
          <ac:cxnSpMkLst>
            <pc:docMk/>
            <pc:sldMk cId="404904448" sldId="683"/>
            <ac:cxnSpMk id="109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23:24.351" v="222" actId="1035"/>
          <ac:cxnSpMkLst>
            <pc:docMk/>
            <pc:sldMk cId="404904448" sldId="683"/>
            <ac:cxnSpMk id="110" creationId="{00000000-0000-0000-0000-000000000000}"/>
          </ac:cxnSpMkLst>
        </pc:cxnChg>
      </pc:sldChg>
      <pc:sldChg chg="add">
        <pc:chgData name="GSVE (Gianluca Stivale)" userId="b2f3af48-7d3d-4911-89cc-4769d0faa1c3" providerId="ADAL" clId="{4114449D-F7BD-4123-A226-2F839F39AC66}" dt="2021-12-10T14:39:12.564" v="63"/>
        <pc:sldMkLst>
          <pc:docMk/>
          <pc:sldMk cId="3730081749" sldId="796"/>
        </pc:sldMkLst>
      </pc:sldChg>
      <pc:sldChg chg="add mod modShow">
        <pc:chgData name="GSVE (Gianluca Stivale)" userId="b2f3af48-7d3d-4911-89cc-4769d0faa1c3" providerId="ADAL" clId="{4114449D-F7BD-4123-A226-2F839F39AC66}" dt="2021-12-10T14:40:55.324" v="66" actId="729"/>
        <pc:sldMkLst>
          <pc:docMk/>
          <pc:sldMk cId="3492171191" sldId="797"/>
        </pc:sldMkLst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2986455635" sldId="1839"/>
        </pc:sldMkLst>
      </pc:sldChg>
      <pc:sldChg chg="ord">
        <pc:chgData name="GSVE (Gianluca Stivale)" userId="b2f3af48-7d3d-4911-89cc-4769d0faa1c3" providerId="ADAL" clId="{4114449D-F7BD-4123-A226-2F839F39AC66}" dt="2021-12-10T15:07:27.770" v="177"/>
        <pc:sldMkLst>
          <pc:docMk/>
          <pc:sldMk cId="77771885" sldId="3602"/>
        </pc:sldMkLst>
      </pc:sldChg>
      <pc:sldChg chg="addSp delSp modSp add mod">
        <pc:chgData name="GSVE (Gianluca Stivale)" userId="b2f3af48-7d3d-4911-89cc-4769d0faa1c3" providerId="ADAL" clId="{4114449D-F7BD-4123-A226-2F839F39AC66}" dt="2021-12-10T16:51:26.025" v="375" actId="478"/>
        <pc:sldMkLst>
          <pc:docMk/>
          <pc:sldMk cId="851803704" sldId="1881839498"/>
        </pc:sldMkLst>
        <pc:spChg chg="mod">
          <ac:chgData name="GSVE (Gianluca Stivale)" userId="b2f3af48-7d3d-4911-89cc-4769d0faa1c3" providerId="ADAL" clId="{4114449D-F7BD-4123-A226-2F839F39AC66}" dt="2021-12-10T16:50:32.919" v="354" actId="1076"/>
          <ac:spMkLst>
            <pc:docMk/>
            <pc:sldMk cId="851803704" sldId="1881839498"/>
            <ac:spMk id="6" creationId="{00000000-0000-0000-0000-000000000000}"/>
          </ac:spMkLst>
        </pc:spChg>
        <pc:spChg chg="del">
          <ac:chgData name="GSVE (Gianluca Stivale)" userId="b2f3af48-7d3d-4911-89cc-4769d0faa1c3" providerId="ADAL" clId="{4114449D-F7BD-4123-A226-2F839F39AC66}" dt="2021-12-10T16:51:26.025" v="375" actId="478"/>
          <ac:spMkLst>
            <pc:docMk/>
            <pc:sldMk cId="851803704" sldId="1881839498"/>
            <ac:spMk id="8" creationId="{7A5D6DC2-DD98-4F24-B275-32ADF536BC36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16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1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1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19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0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2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3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4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6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29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30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31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3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40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41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4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5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6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59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60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61" creationId="{00000000-0000-0000-0000-000000000000}"/>
          </ac:spMkLst>
        </pc:spChg>
        <pc:spChg chg="add mod">
          <ac:chgData name="GSVE (Gianluca Stivale)" userId="b2f3af48-7d3d-4911-89cc-4769d0faa1c3" providerId="ADAL" clId="{4114449D-F7BD-4123-A226-2F839F39AC66}" dt="2021-12-10T16:51:01.902" v="371" actId="1076"/>
          <ac:spMkLst>
            <pc:docMk/>
            <pc:sldMk cId="851803704" sldId="1881839498"/>
            <ac:spMk id="62" creationId="{CF3A70A8-CB54-4CA9-B554-982D4AEA25DA}"/>
          </ac:spMkLst>
        </pc:spChg>
        <pc:spChg chg="add mod">
          <ac:chgData name="GSVE (Gianluca Stivale)" userId="b2f3af48-7d3d-4911-89cc-4769d0faa1c3" providerId="ADAL" clId="{4114449D-F7BD-4123-A226-2F839F39AC66}" dt="2021-12-10T16:51:19.862" v="374" actId="5793"/>
          <ac:spMkLst>
            <pc:docMk/>
            <pc:sldMk cId="851803704" sldId="1881839498"/>
            <ac:spMk id="65" creationId="{334F0AA6-B2F0-40DC-ABE4-72A38CEEACD2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6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6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69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0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1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2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3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4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5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6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7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78" creationId="{00000000-0000-0000-0000-000000000000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86" creationId="{885BE3BC-8FE1-45FB-B937-0A0E193CE489}"/>
          </ac:spMkLst>
        </pc:spChg>
        <pc:spChg chg="mod">
          <ac:chgData name="GSVE (Gianluca Stivale)" userId="b2f3af48-7d3d-4911-89cc-4769d0faa1c3" providerId="ADAL" clId="{4114449D-F7BD-4123-A226-2F839F39AC66}" dt="2021-12-10T16:50:38.778" v="367" actId="1036"/>
          <ac:spMkLst>
            <pc:docMk/>
            <pc:sldMk cId="851803704" sldId="1881839498"/>
            <ac:spMk id="96" creationId="{471701F3-A1E1-46C5-9E4B-8C9B6D647CA2}"/>
          </ac:spMkLst>
        </pc:spChg>
        <pc:grpChg chg="mod">
          <ac:chgData name="GSVE (Gianluca Stivale)" userId="b2f3af48-7d3d-4911-89cc-4769d0faa1c3" providerId="ADAL" clId="{4114449D-F7BD-4123-A226-2F839F39AC66}" dt="2021-12-10T16:50:38.778" v="367" actId="1036"/>
          <ac:grpSpMkLst>
            <pc:docMk/>
            <pc:sldMk cId="851803704" sldId="1881839498"/>
            <ac:grpSpMk id="2" creationId="{8F0A9481-8079-4979-BFB3-32F7B9931FA0}"/>
          </ac:grpSpMkLst>
        </pc:grpChg>
        <pc:grpChg chg="mod">
          <ac:chgData name="GSVE (Gianluca Stivale)" userId="b2f3af48-7d3d-4911-89cc-4769d0faa1c3" providerId="ADAL" clId="{4114449D-F7BD-4123-A226-2F839F39AC66}" dt="2021-12-10T16:50:38.778" v="367" actId="1036"/>
          <ac:grpSpMkLst>
            <pc:docMk/>
            <pc:sldMk cId="851803704" sldId="1881839498"/>
            <ac:grpSpMk id="3" creationId="{9313192B-E884-4648-BA65-D9DE008169BD}"/>
          </ac:grpSpMkLst>
        </pc:grpChg>
        <pc:grpChg chg="mod">
          <ac:chgData name="GSVE (Gianluca Stivale)" userId="b2f3af48-7d3d-4911-89cc-4769d0faa1c3" providerId="ADAL" clId="{4114449D-F7BD-4123-A226-2F839F39AC66}" dt="2021-12-10T16:50:38.778" v="367" actId="1036"/>
          <ac:grpSpMkLst>
            <pc:docMk/>
            <pc:sldMk cId="851803704" sldId="1881839498"/>
            <ac:grpSpMk id="7" creationId="{44053108-A84D-4464-A35D-FDCB687A332D}"/>
          </ac:grpSpMkLst>
        </pc:grpChg>
        <pc:grpChg chg="mod">
          <ac:chgData name="GSVE (Gianluca Stivale)" userId="b2f3af48-7d3d-4911-89cc-4769d0faa1c3" providerId="ADAL" clId="{4114449D-F7BD-4123-A226-2F839F39AC66}" dt="2021-12-10T16:50:38.778" v="367" actId="1036"/>
          <ac:grpSpMkLst>
            <pc:docMk/>
            <pc:sldMk cId="851803704" sldId="1881839498"/>
            <ac:grpSpMk id="9" creationId="{9A400F6D-55DD-4D09-BF0C-07C7F7D0B516}"/>
          </ac:grpSpMkLst>
        </pc:grp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21" creationId="{1F558803-B85D-4732-973D-E555AEDEB92A}"/>
          </ac:picMkLst>
        </pc:pic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48" creationId="{1EEC7CE5-C9B7-423C-BC1D-62A121313A20}"/>
          </ac:picMkLst>
        </pc:pic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52" creationId="{55AF2296-5D49-4BD6-96B5-7B8F52D6E293}"/>
          </ac:picMkLst>
        </pc:pic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53" creationId="{00000000-0000-0000-0000-000000000000}"/>
          </ac:picMkLst>
        </pc:pic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66" creationId="{00000000-0000-0000-0000-000000000000}"/>
          </ac:picMkLst>
        </pc:picChg>
        <pc:picChg chg="mod">
          <ac:chgData name="GSVE (Gianluca Stivale)" userId="b2f3af48-7d3d-4911-89cc-4769d0faa1c3" providerId="ADAL" clId="{4114449D-F7BD-4123-A226-2F839F39AC66}" dt="2021-12-10T16:50:38.778" v="367" actId="1036"/>
          <ac:picMkLst>
            <pc:docMk/>
            <pc:sldMk cId="851803704" sldId="1881839498"/>
            <ac:picMk id="80" creationId="{A8DC396E-3BA2-4BE9-BB32-833563812BAC}"/>
          </ac:picMkLst>
        </pc:pic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33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34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35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36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63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64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79" creationId="{00000000-0000-0000-0000-000000000000}"/>
          </ac:cxnSpMkLst>
        </pc:cxnChg>
        <pc:cxnChg chg="mod">
          <ac:chgData name="GSVE (Gianluca Stivale)" userId="b2f3af48-7d3d-4911-89cc-4769d0faa1c3" providerId="ADAL" clId="{4114449D-F7BD-4123-A226-2F839F39AC66}" dt="2021-12-10T16:50:38.778" v="367" actId="1036"/>
          <ac:cxnSpMkLst>
            <pc:docMk/>
            <pc:sldMk cId="851803704" sldId="1881839498"/>
            <ac:cxnSpMk id="81" creationId="{00000000-0000-0000-0000-000000000000}"/>
          </ac:cxnSpMkLst>
        </pc:cxnChg>
      </pc:sldChg>
      <pc:sldChg chg="del">
        <pc:chgData name="GSVE (Gianluca Stivale)" userId="b2f3af48-7d3d-4911-89cc-4769d0faa1c3" providerId="ADAL" clId="{4114449D-F7BD-4123-A226-2F839F39AC66}" dt="2021-12-10T14:40:58.005" v="67" actId="47"/>
        <pc:sldMkLst>
          <pc:docMk/>
          <pc:sldMk cId="2561475876" sldId="2096975851"/>
        </pc:sldMkLst>
      </pc:sldChg>
      <pc:sldChg chg="del">
        <pc:chgData name="GSVE (Gianluca Stivale)" userId="b2f3af48-7d3d-4911-89cc-4769d0faa1c3" providerId="ADAL" clId="{4114449D-F7BD-4123-A226-2F839F39AC66}" dt="2021-12-10T15:52:14.133" v="179" actId="47"/>
        <pc:sldMkLst>
          <pc:docMk/>
          <pc:sldMk cId="2650797528" sldId="2096975852"/>
        </pc:sldMkLst>
      </pc:sldChg>
      <pc:sldChg chg="del">
        <pc:chgData name="GSVE (Gianluca Stivale)" userId="b2f3af48-7d3d-4911-89cc-4769d0faa1c3" providerId="ADAL" clId="{4114449D-F7BD-4123-A226-2F839F39AC66}" dt="2021-12-10T14:39:31.241" v="64" actId="47"/>
        <pc:sldMkLst>
          <pc:docMk/>
          <pc:sldMk cId="226892205" sldId="2096975854"/>
        </pc:sldMkLst>
      </pc:sldChg>
      <pc:sldChg chg="modSp mod modNotesTx">
        <pc:chgData name="GSVE (Gianluca Stivale)" userId="b2f3af48-7d3d-4911-89cc-4769d0faa1c3" providerId="ADAL" clId="{4114449D-F7BD-4123-A226-2F839F39AC66}" dt="2021-12-10T14:54:27.197" v="69" actId="5793"/>
        <pc:sldMkLst>
          <pc:docMk/>
          <pc:sldMk cId="2123215901" sldId="2096975862"/>
        </pc:sldMkLst>
        <pc:spChg chg="mod">
          <ac:chgData name="GSVE (Gianluca Stivale)" userId="b2f3af48-7d3d-4911-89cc-4769d0faa1c3" providerId="ADAL" clId="{4114449D-F7BD-4123-A226-2F839F39AC66}" dt="2021-12-10T14:32:55.095" v="23" actId="1076"/>
          <ac:spMkLst>
            <pc:docMk/>
            <pc:sldMk cId="2123215901" sldId="2096975862"/>
            <ac:spMk id="23" creationId="{03B55670-7C6B-48E3-9648-326A971F63C9}"/>
          </ac:spMkLst>
        </pc:spChg>
      </pc:sldChg>
      <pc:sldChg chg="addSp delSp modSp mod">
        <pc:chgData name="GSVE (Gianluca Stivale)" userId="b2f3af48-7d3d-4911-89cc-4769d0faa1c3" providerId="ADAL" clId="{4114449D-F7BD-4123-A226-2F839F39AC66}" dt="2021-12-10T14:34:38.405" v="60" actId="1035"/>
        <pc:sldMkLst>
          <pc:docMk/>
          <pc:sldMk cId="3657091910" sldId="2096975863"/>
        </pc:sldMkLst>
        <pc:spChg chg="add del mod">
          <ac:chgData name="GSVE (Gianluca Stivale)" userId="b2f3af48-7d3d-4911-89cc-4769d0faa1c3" providerId="ADAL" clId="{4114449D-F7BD-4123-A226-2F839F39AC66}" dt="2021-12-10T14:34:26.565" v="55" actId="478"/>
          <ac:spMkLst>
            <pc:docMk/>
            <pc:sldMk cId="3657091910" sldId="2096975863"/>
            <ac:spMk id="4" creationId="{0E29D383-5847-43BF-8C15-06F7983C56FC}"/>
          </ac:spMkLst>
        </pc:spChg>
        <pc:spChg chg="mod">
          <ac:chgData name="GSVE (Gianluca Stivale)" userId="b2f3af48-7d3d-4911-89cc-4769d0faa1c3" providerId="ADAL" clId="{4114449D-F7BD-4123-A226-2F839F39AC66}" dt="2021-12-10T14:34:38.405" v="60" actId="1035"/>
          <ac:spMkLst>
            <pc:docMk/>
            <pc:sldMk cId="3657091910" sldId="2096975863"/>
            <ac:spMk id="8" creationId="{3A050C40-DD4A-4DCA-9FC7-A9B85F84885B}"/>
          </ac:spMkLst>
        </pc:spChg>
        <pc:spChg chg="add del mod">
          <ac:chgData name="GSVE (Gianluca Stivale)" userId="b2f3af48-7d3d-4911-89cc-4769d0faa1c3" providerId="ADAL" clId="{4114449D-F7BD-4123-A226-2F839F39AC66}" dt="2021-12-10T14:34:24.386" v="54" actId="478"/>
          <ac:spMkLst>
            <pc:docMk/>
            <pc:sldMk cId="3657091910" sldId="2096975863"/>
            <ac:spMk id="14" creationId="{145ACF17-F3AF-453E-8196-0C03D1479B24}"/>
          </ac:spMkLst>
        </pc:spChg>
      </pc:sldChg>
      <pc:sldChg chg="modSp mod">
        <pc:chgData name="GSVE (Gianluca Stivale)" userId="b2f3af48-7d3d-4911-89cc-4769d0faa1c3" providerId="ADAL" clId="{4114449D-F7BD-4123-A226-2F839F39AC66}" dt="2021-12-10T16:10:28.008" v="182" actId="20577"/>
        <pc:sldMkLst>
          <pc:docMk/>
          <pc:sldMk cId="2678655462" sldId="2096975864"/>
        </pc:sldMkLst>
        <pc:spChg chg="mod">
          <ac:chgData name="GSVE (Gianluca Stivale)" userId="b2f3af48-7d3d-4911-89cc-4769d0faa1c3" providerId="ADAL" clId="{4114449D-F7BD-4123-A226-2F839F39AC66}" dt="2021-12-10T16:10:28.008" v="182" actId="20577"/>
          <ac:spMkLst>
            <pc:docMk/>
            <pc:sldMk cId="2678655462" sldId="2096975864"/>
            <ac:spMk id="104" creationId="{A31DDDCC-63B3-41C8-8FE0-E71B7892CC4A}"/>
          </ac:spMkLst>
        </pc:spChg>
      </pc:sldChg>
      <pc:sldChg chg="modSp mod ord modNotesTx">
        <pc:chgData name="GSVE (Gianluca Stivale)" userId="b2f3af48-7d3d-4911-89cc-4769d0faa1c3" providerId="ADAL" clId="{4114449D-F7BD-4123-A226-2F839F39AC66}" dt="2021-12-10T16:40:12.512" v="331" actId="20577"/>
        <pc:sldMkLst>
          <pc:docMk/>
          <pc:sldMk cId="1898674594" sldId="2096975866"/>
        </pc:sldMkLst>
        <pc:spChg chg="mod">
          <ac:chgData name="GSVE (Gianluca Stivale)" userId="b2f3af48-7d3d-4911-89cc-4769d0faa1c3" providerId="ADAL" clId="{4114449D-F7BD-4123-A226-2F839F39AC66}" dt="2021-12-10T15:03:37.851" v="174" actId="20577"/>
          <ac:spMkLst>
            <pc:docMk/>
            <pc:sldMk cId="1898674594" sldId="2096975866"/>
            <ac:spMk id="45" creationId="{208FD49A-4E1E-4786-82A8-B44FAEF6A0E3}"/>
          </ac:spMkLst>
        </pc:spChg>
      </pc:sldChg>
      <pc:sldChg chg="modSp mod modNotesTx">
        <pc:chgData name="GSVE (Gianluca Stivale)" userId="b2f3af48-7d3d-4911-89cc-4769d0faa1c3" providerId="ADAL" clId="{4114449D-F7BD-4123-A226-2F839F39AC66}" dt="2021-12-10T14:35:11.712" v="62" actId="1076"/>
        <pc:sldMkLst>
          <pc:docMk/>
          <pc:sldMk cId="961619446" sldId="2096975869"/>
        </pc:sldMkLst>
        <pc:spChg chg="mod">
          <ac:chgData name="GSVE (Gianluca Stivale)" userId="b2f3af48-7d3d-4911-89cc-4769d0faa1c3" providerId="ADAL" clId="{4114449D-F7BD-4123-A226-2F839F39AC66}" dt="2021-12-10T14:35:11.712" v="62" actId="1076"/>
          <ac:spMkLst>
            <pc:docMk/>
            <pc:sldMk cId="961619446" sldId="2096975869"/>
            <ac:spMk id="106" creationId="{0C87391D-D2CD-40D8-B640-8CF693AAC3EF}"/>
          </ac:spMkLst>
        </pc:spChg>
        <pc:spChg chg="mod">
          <ac:chgData name="GSVE (Gianluca Stivale)" userId="b2f3af48-7d3d-4911-89cc-4769d0faa1c3" providerId="ADAL" clId="{4114449D-F7BD-4123-A226-2F839F39AC66}" dt="2021-12-10T14:35:04.879" v="61" actId="20577"/>
          <ac:spMkLst>
            <pc:docMk/>
            <pc:sldMk cId="961619446" sldId="2096975869"/>
            <ac:spMk id="107" creationId="{E815EE2D-2E37-4E04-A369-D6980FAA028A}"/>
          </ac:spMkLst>
        </pc:spChg>
      </pc:sldChg>
      <pc:sldChg chg="addSp delSp modSp add mod delAnim modAnim">
        <pc:chgData name="GSVE (Gianluca Stivale)" userId="b2f3af48-7d3d-4911-89cc-4769d0faa1c3" providerId="ADAL" clId="{4114449D-F7BD-4123-A226-2F839F39AC66}" dt="2021-12-10T16:47:31.813" v="352" actId="164"/>
        <pc:sldMkLst>
          <pc:docMk/>
          <pc:sldMk cId="2608482495" sldId="2096975873"/>
        </pc:sldMkLst>
        <pc:spChg chg="add mod">
          <ac:chgData name="GSVE (Gianluca Stivale)" userId="b2f3af48-7d3d-4911-89cc-4769d0faa1c3" providerId="ADAL" clId="{4114449D-F7BD-4123-A226-2F839F39AC66}" dt="2021-12-10T16:47:31.813" v="352" actId="164"/>
          <ac:spMkLst>
            <pc:docMk/>
            <pc:sldMk cId="2608482495" sldId="2096975873"/>
            <ac:spMk id="5" creationId="{3A77DBA2-BAF7-4D86-8DB4-A1B6713AAE77}"/>
          </ac:spMkLst>
        </pc:spChg>
        <pc:spChg chg="add mod">
          <ac:chgData name="GSVE (Gianluca Stivale)" userId="b2f3af48-7d3d-4911-89cc-4769d0faa1c3" providerId="ADAL" clId="{4114449D-F7BD-4123-A226-2F839F39AC66}" dt="2021-12-10T16:47:31.813" v="352" actId="164"/>
          <ac:spMkLst>
            <pc:docMk/>
            <pc:sldMk cId="2608482495" sldId="2096975873"/>
            <ac:spMk id="25" creationId="{90F16116-51AB-48DF-9EEB-855D3EAB97C2}"/>
          </ac:spMkLst>
        </pc:spChg>
        <pc:spChg chg="mod">
          <ac:chgData name="GSVE (Gianluca Stivale)" userId="b2f3af48-7d3d-4911-89cc-4769d0faa1c3" providerId="ADAL" clId="{4114449D-F7BD-4123-A226-2F839F39AC66}" dt="2021-12-10T15:03:41.198" v="175" actId="20577"/>
          <ac:spMkLst>
            <pc:docMk/>
            <pc:sldMk cId="2608482495" sldId="2096975873"/>
            <ac:spMk id="45" creationId="{208FD49A-4E1E-4786-82A8-B44FAEF6A0E3}"/>
          </ac:spMkLst>
        </pc:spChg>
        <pc:grpChg chg="add mod">
          <ac:chgData name="GSVE (Gianluca Stivale)" userId="b2f3af48-7d3d-4911-89cc-4769d0faa1c3" providerId="ADAL" clId="{4114449D-F7BD-4123-A226-2F839F39AC66}" dt="2021-12-10T16:47:31.813" v="352" actId="164"/>
          <ac:grpSpMkLst>
            <pc:docMk/>
            <pc:sldMk cId="2608482495" sldId="2096975873"/>
            <ac:grpSpMk id="6" creationId="{BDCBCCFD-298E-4A3B-B1BC-DE1211704367}"/>
          </ac:grpSpMkLst>
        </pc:grpChg>
        <pc:picChg chg="del">
          <ac:chgData name="GSVE (Gianluca Stivale)" userId="b2f3af48-7d3d-4911-89cc-4769d0faa1c3" providerId="ADAL" clId="{4114449D-F7BD-4123-A226-2F839F39AC66}" dt="2021-12-10T15:00:23.321" v="81" actId="478"/>
          <ac:picMkLst>
            <pc:docMk/>
            <pc:sldMk cId="2608482495" sldId="2096975873"/>
            <ac:picMk id="3" creationId="{47D7EAFC-D883-442C-BB38-F59D4C858260}"/>
          </ac:picMkLst>
        </pc:picChg>
        <pc:picChg chg="add mod ord modCrop">
          <ac:chgData name="GSVE (Gianluca Stivale)" userId="b2f3af48-7d3d-4911-89cc-4769d0faa1c3" providerId="ADAL" clId="{4114449D-F7BD-4123-A226-2F839F39AC66}" dt="2021-12-10T15:00:17.912" v="77" actId="167"/>
          <ac:picMkLst>
            <pc:docMk/>
            <pc:sldMk cId="2608482495" sldId="2096975873"/>
            <ac:picMk id="4" creationId="{664C684D-8DF0-452B-8719-C647FB7701DB}"/>
          </ac:picMkLst>
        </pc:picChg>
        <pc:picChg chg="del">
          <ac:chgData name="GSVE (Gianluca Stivale)" userId="b2f3af48-7d3d-4911-89cc-4769d0faa1c3" providerId="ADAL" clId="{4114449D-F7BD-4123-A226-2F839F39AC66}" dt="2021-12-10T15:00:19.064" v="78" actId="478"/>
          <ac:picMkLst>
            <pc:docMk/>
            <pc:sldMk cId="2608482495" sldId="2096975873"/>
            <ac:picMk id="8" creationId="{00CB0B46-961D-490E-88E9-8F15D3196715}"/>
          </ac:picMkLst>
        </pc:picChg>
        <pc:picChg chg="del">
          <ac:chgData name="GSVE (Gianluca Stivale)" userId="b2f3af48-7d3d-4911-89cc-4769d0faa1c3" providerId="ADAL" clId="{4114449D-F7BD-4123-A226-2F839F39AC66}" dt="2021-12-10T15:00:23.831" v="82" actId="478"/>
          <ac:picMkLst>
            <pc:docMk/>
            <pc:sldMk cId="2608482495" sldId="2096975873"/>
            <ac:picMk id="9" creationId="{CD16C454-A837-4ECC-8456-0F03318A9DB8}"/>
          </ac:picMkLst>
        </pc:picChg>
        <pc:picChg chg="del">
          <ac:chgData name="GSVE (Gianluca Stivale)" userId="b2f3af48-7d3d-4911-89cc-4769d0faa1c3" providerId="ADAL" clId="{4114449D-F7BD-4123-A226-2F839F39AC66}" dt="2021-12-10T15:00:19.986" v="79" actId="478"/>
          <ac:picMkLst>
            <pc:docMk/>
            <pc:sldMk cId="2608482495" sldId="2096975873"/>
            <ac:picMk id="11" creationId="{8899012E-9A47-476D-BBA9-968AEC998BBB}"/>
          </ac:picMkLst>
        </pc:picChg>
        <pc:picChg chg="add mod">
          <ac:chgData name="GSVE (Gianluca Stivale)" userId="b2f3af48-7d3d-4911-89cc-4769d0faa1c3" providerId="ADAL" clId="{4114449D-F7BD-4123-A226-2F839F39AC66}" dt="2021-12-10T16:44:05.070" v="336" actId="1076"/>
          <ac:picMkLst>
            <pc:docMk/>
            <pc:sldMk cId="2608482495" sldId="2096975873"/>
            <ac:picMk id="21" creationId="{0C426000-460B-4935-8B3D-449C3595588D}"/>
          </ac:picMkLst>
        </pc:picChg>
        <pc:picChg chg="add mod">
          <ac:chgData name="GSVE (Gianluca Stivale)" userId="b2f3af48-7d3d-4911-89cc-4769d0faa1c3" providerId="ADAL" clId="{4114449D-F7BD-4123-A226-2F839F39AC66}" dt="2021-12-10T16:47:31.813" v="352" actId="164"/>
          <ac:picMkLst>
            <pc:docMk/>
            <pc:sldMk cId="2608482495" sldId="2096975873"/>
            <ac:picMk id="23" creationId="{FCC0E42B-924E-4F07-83A9-82D405EDE0DC}"/>
          </ac:picMkLst>
        </pc:pic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15" creationId="{C6749A17-F7C1-4360-821C-CC455B2D1C45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18" creationId="{14F3343C-6A31-40C9-9547-F859F1C17BEA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20" creationId="{9F5E9928-2842-463C-9ACA-921E3F2001F5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22" creationId="{16F5C255-9626-4DAF-9082-6127B5DEFDD5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24" creationId="{7D4FAE0A-43BC-460B-9C88-5AD8DD886475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26" creationId="{E00FA06B-B9B3-47F6-A17A-56511A15C1FC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28" creationId="{9EBE7DA9-BB20-4065-8947-FB5C5221080A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32" creationId="{45433BF0-FBC1-4BF3-9788-3E9464753501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35" creationId="{66F608D7-B42F-433B-817D-ACDD3EAD8DCF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37" creationId="{77A23E9D-7649-461A-AD0F-B19C11C3AAC4}"/>
          </ac:cxnSpMkLst>
        </pc:cxnChg>
        <pc:cxnChg chg="del">
          <ac:chgData name="GSVE (Gianluca Stivale)" userId="b2f3af48-7d3d-4911-89cc-4769d0faa1c3" providerId="ADAL" clId="{4114449D-F7BD-4123-A226-2F839F39AC66}" dt="2021-12-10T15:00:22.244" v="80" actId="478"/>
          <ac:cxnSpMkLst>
            <pc:docMk/>
            <pc:sldMk cId="2608482495" sldId="2096975873"/>
            <ac:cxnSpMk id="41" creationId="{26A87879-C608-4CC6-83D6-7DF1B3B24D61}"/>
          </ac:cxnSpMkLst>
        </pc:cxnChg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1548391576" sldId="2134804769"/>
        </pc:sldMkLst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1940746199" sldId="2134804772"/>
        </pc:sldMkLst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1711871786" sldId="2134804803"/>
        </pc:sldMkLst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559646865" sldId="2134804807"/>
        </pc:sldMkLst>
      </pc:sldChg>
      <pc:sldChg chg="add">
        <pc:chgData name="GSVE (Gianluca Stivale)" userId="b2f3af48-7d3d-4911-89cc-4769d0faa1c3" providerId="ADAL" clId="{4114449D-F7BD-4123-A226-2F839F39AC66}" dt="2021-12-10T16:26:37.383" v="230"/>
        <pc:sldMkLst>
          <pc:docMk/>
          <pc:sldMk cId="2457472771" sldId="2134804808"/>
        </pc:sldMkLst>
      </pc:sldChg>
      <pc:sldChg chg="addSp delSp modSp add mod">
        <pc:chgData name="GSVE (Gianluca Stivale)" userId="b2f3af48-7d3d-4911-89cc-4769d0faa1c3" providerId="ADAL" clId="{4114449D-F7BD-4123-A226-2F839F39AC66}" dt="2021-12-10T16:51:48.062" v="381" actId="20577"/>
        <pc:sldMkLst>
          <pc:docMk/>
          <pc:sldMk cId="3879202192" sldId="2134804943"/>
        </pc:sldMkLst>
        <pc:spChg chg="add mod">
          <ac:chgData name="GSVE (Gianluca Stivale)" userId="b2f3af48-7d3d-4911-89cc-4769d0faa1c3" providerId="ADAL" clId="{4114449D-F7BD-4123-A226-2F839F39AC66}" dt="2021-12-10T16:51:48.062" v="381" actId="20577"/>
          <ac:spMkLst>
            <pc:docMk/>
            <pc:sldMk cId="3879202192" sldId="2134804943"/>
            <ac:spMk id="7" creationId="{370D69BD-087B-4F28-A0EE-D0431690B7B4}"/>
          </ac:spMkLst>
        </pc:spChg>
        <pc:spChg chg="del mod">
          <ac:chgData name="GSVE (Gianluca Stivale)" userId="b2f3af48-7d3d-4911-89cc-4769d0faa1c3" providerId="ADAL" clId="{4114449D-F7BD-4123-A226-2F839F39AC66}" dt="2021-12-10T16:51:43.264" v="379" actId="478"/>
          <ac:spMkLst>
            <pc:docMk/>
            <pc:sldMk cId="3879202192" sldId="2134804943"/>
            <ac:spMk id="11" creationId="{C27B9B47-C838-4FC0-9F4E-D6D54C3C904F}"/>
          </ac:spMkLst>
        </pc:spChg>
      </pc:sldChg>
      <pc:sldChg chg="addSp modSp add">
        <pc:chgData name="GSVE (Gianluca Stivale)" userId="b2f3af48-7d3d-4911-89cc-4769d0faa1c3" providerId="ADAL" clId="{4114449D-F7BD-4123-A226-2F839F39AC66}" dt="2021-12-10T16:24:28.553" v="226"/>
        <pc:sldMkLst>
          <pc:docMk/>
          <pc:sldMk cId="123478126" sldId="2134804946"/>
        </pc:sldMkLst>
        <pc:spChg chg="add mod">
          <ac:chgData name="GSVE (Gianluca Stivale)" userId="b2f3af48-7d3d-4911-89cc-4769d0faa1c3" providerId="ADAL" clId="{4114449D-F7BD-4123-A226-2F839F39AC66}" dt="2021-12-10T16:24:28.553" v="226"/>
          <ac:spMkLst>
            <pc:docMk/>
            <pc:sldMk cId="123478126" sldId="2134804946"/>
            <ac:spMk id="7" creationId="{29D0D90A-6B6D-4FC7-A619-8D0E84A2A83B}"/>
          </ac:spMkLst>
        </pc:spChg>
      </pc:sldChg>
    </pc:docChg>
  </pc:docChgLst>
  <pc:docChgLst>
    <pc:chgData name="GSVE (Gianluca Stivale)" userId="b2f3af48-7d3d-4911-89cc-4769d0faa1c3" providerId="ADAL" clId="{CC7DA4CC-6E47-4FFE-85B0-D72EB67E71C1}"/>
    <pc:docChg chg="undo redo custSel addSld delSld modSld sldOrd">
      <pc:chgData name="GSVE (Gianluca Stivale)" userId="b2f3af48-7d3d-4911-89cc-4769d0faa1c3" providerId="ADAL" clId="{CC7DA4CC-6E47-4FFE-85B0-D72EB67E71C1}" dt="2022-02-07T20:58:55.052" v="840"/>
      <pc:docMkLst>
        <pc:docMk/>
      </pc:docMkLst>
      <pc:sldChg chg="modSp mod">
        <pc:chgData name="GSVE (Gianluca Stivale)" userId="b2f3af48-7d3d-4911-89cc-4769d0faa1c3" providerId="ADAL" clId="{CC7DA4CC-6E47-4FFE-85B0-D72EB67E71C1}" dt="2022-02-01T08:58:38.246" v="15" actId="20577"/>
        <pc:sldMkLst>
          <pc:docMk/>
          <pc:sldMk cId="3598511070" sldId="265"/>
        </pc:sldMkLst>
        <pc:spChg chg="mod">
          <ac:chgData name="GSVE (Gianluca Stivale)" userId="b2f3af48-7d3d-4911-89cc-4769d0faa1c3" providerId="ADAL" clId="{CC7DA4CC-6E47-4FFE-85B0-D72EB67E71C1}" dt="2022-02-01T08:58:38.246" v="15" actId="20577"/>
          <ac:spMkLst>
            <pc:docMk/>
            <pc:sldMk cId="3598511070" sldId="265"/>
            <ac:spMk id="3" creationId="{43FF7D07-244D-4AD8-A533-938BDBF811F4}"/>
          </ac:spMkLst>
        </pc:spChg>
      </pc:sldChg>
      <pc:sldChg chg="addSp delSp modSp del mod modAnim modNotesTx">
        <pc:chgData name="GSVE (Gianluca Stivale)" userId="b2f3af48-7d3d-4911-89cc-4769d0faa1c3" providerId="ADAL" clId="{CC7DA4CC-6E47-4FFE-85B0-D72EB67E71C1}" dt="2022-02-01T09:41:17.313" v="348" actId="47"/>
        <pc:sldMkLst>
          <pc:docMk/>
          <pc:sldMk cId="2265651142" sldId="757"/>
        </pc:sldMkLst>
        <pc:spChg chg="add del mod ord">
          <ac:chgData name="GSVE (Gianluca Stivale)" userId="b2f3af48-7d3d-4911-89cc-4769d0faa1c3" providerId="ADAL" clId="{CC7DA4CC-6E47-4FFE-85B0-D72EB67E71C1}" dt="2022-02-01T09:35:08.056" v="267" actId="11529"/>
          <ac:spMkLst>
            <pc:docMk/>
            <pc:sldMk cId="2265651142" sldId="757"/>
            <ac:spMk id="2" creationId="{E395C813-DB1E-4902-872E-C5E5E9EF815C}"/>
          </ac:spMkLst>
        </pc:spChg>
        <pc:spChg chg="add mod">
          <ac:chgData name="GSVE (Gianluca Stivale)" userId="b2f3af48-7d3d-4911-89cc-4769d0faa1c3" providerId="ADAL" clId="{CC7DA4CC-6E47-4FFE-85B0-D72EB67E71C1}" dt="2022-02-01T09:38:59.360" v="344" actId="14100"/>
          <ac:spMkLst>
            <pc:docMk/>
            <pc:sldMk cId="2265651142" sldId="757"/>
            <ac:spMk id="15" creationId="{18D7344B-74CA-49C1-8F18-97F2217463DD}"/>
          </ac:spMkLst>
        </pc:spChg>
        <pc:spChg chg="add mod">
          <ac:chgData name="GSVE (Gianluca Stivale)" userId="b2f3af48-7d3d-4911-89cc-4769d0faa1c3" providerId="ADAL" clId="{CC7DA4CC-6E47-4FFE-85B0-D72EB67E71C1}" dt="2022-02-01T08:59:43.362" v="35" actId="403"/>
          <ac:spMkLst>
            <pc:docMk/>
            <pc:sldMk cId="2265651142" sldId="757"/>
            <ac:spMk id="17" creationId="{D99443D4-2B3B-453E-8E89-09A1F42EC343}"/>
          </ac:spMkLst>
        </pc:spChg>
        <pc:spChg chg="add del mod">
          <ac:chgData name="GSVE (Gianluca Stivale)" userId="b2f3af48-7d3d-4911-89cc-4769d0faa1c3" providerId="ADAL" clId="{CC7DA4CC-6E47-4FFE-85B0-D72EB67E71C1}" dt="2022-02-01T09:04:19.038" v="65"/>
          <ac:spMkLst>
            <pc:docMk/>
            <pc:sldMk cId="2265651142" sldId="757"/>
            <ac:spMk id="30" creationId="{AA4EC2BD-671F-4F83-B049-B5F880195E61}"/>
          </ac:spMkLst>
        </pc:spChg>
        <pc:spChg chg="add mod">
          <ac:chgData name="GSVE (Gianluca Stivale)" userId="b2f3af48-7d3d-4911-89cc-4769d0faa1c3" providerId="ADAL" clId="{CC7DA4CC-6E47-4FFE-85B0-D72EB67E71C1}" dt="2022-02-01T09:15:45.537" v="189" actId="14100"/>
          <ac:spMkLst>
            <pc:docMk/>
            <pc:sldMk cId="2265651142" sldId="757"/>
            <ac:spMk id="31" creationId="{825AA73C-2284-49D3-90B8-EBB142E5719F}"/>
          </ac:spMkLst>
        </pc:spChg>
        <pc:spChg chg="add mod">
          <ac:chgData name="GSVE (Gianluca Stivale)" userId="b2f3af48-7d3d-4911-89cc-4769d0faa1c3" providerId="ADAL" clId="{CC7DA4CC-6E47-4FFE-85B0-D72EB67E71C1}" dt="2022-02-01T09:15:45.537" v="189" actId="14100"/>
          <ac:spMkLst>
            <pc:docMk/>
            <pc:sldMk cId="2265651142" sldId="757"/>
            <ac:spMk id="32" creationId="{0E68D5D4-60AF-48C6-A633-080F4F3F3906}"/>
          </ac:spMkLst>
        </pc:spChg>
        <pc:spChg chg="add mod">
          <ac:chgData name="GSVE (Gianluca Stivale)" userId="b2f3af48-7d3d-4911-89cc-4769d0faa1c3" providerId="ADAL" clId="{CC7DA4CC-6E47-4FFE-85B0-D72EB67E71C1}" dt="2022-02-01T09:14:50.869" v="184" actId="6549"/>
          <ac:spMkLst>
            <pc:docMk/>
            <pc:sldMk cId="2265651142" sldId="757"/>
            <ac:spMk id="33" creationId="{4C769706-0581-485D-8500-1056E296E965}"/>
          </ac:spMkLst>
        </pc:spChg>
        <pc:spChg chg="add mod">
          <ac:chgData name="GSVE (Gianluca Stivale)" userId="b2f3af48-7d3d-4911-89cc-4769d0faa1c3" providerId="ADAL" clId="{CC7DA4CC-6E47-4FFE-85B0-D72EB67E71C1}" dt="2022-02-01T09:15:24.939" v="188" actId="20577"/>
          <ac:spMkLst>
            <pc:docMk/>
            <pc:sldMk cId="2265651142" sldId="757"/>
            <ac:spMk id="34" creationId="{70181331-BACB-4630-BF06-5650FC5E9C5F}"/>
          </ac:spMkLst>
        </pc:spChg>
        <pc:spChg chg="add mod">
          <ac:chgData name="GSVE (Gianluca Stivale)" userId="b2f3af48-7d3d-4911-89cc-4769d0faa1c3" providerId="ADAL" clId="{CC7DA4CC-6E47-4FFE-85B0-D72EB67E71C1}" dt="2022-02-01T09:36:23.328" v="299" actId="1038"/>
          <ac:spMkLst>
            <pc:docMk/>
            <pc:sldMk cId="2265651142" sldId="757"/>
            <ac:spMk id="35" creationId="{EC24C11D-8CEA-4238-9245-130418824F8B}"/>
          </ac:spMkLst>
        </pc:spChg>
        <pc:spChg chg="add mod">
          <ac:chgData name="GSVE (Gianluca Stivale)" userId="b2f3af48-7d3d-4911-89cc-4769d0faa1c3" providerId="ADAL" clId="{CC7DA4CC-6E47-4FFE-85B0-D72EB67E71C1}" dt="2022-02-01T09:36:23.328" v="299" actId="1038"/>
          <ac:spMkLst>
            <pc:docMk/>
            <pc:sldMk cId="2265651142" sldId="757"/>
            <ac:spMk id="36" creationId="{EE9A8005-5496-476E-96B4-189AA67A2CF1}"/>
          </ac:spMkLst>
        </pc:spChg>
        <pc:spChg chg="add mod">
          <ac:chgData name="GSVE (Gianluca Stivale)" userId="b2f3af48-7d3d-4911-89cc-4769d0faa1c3" providerId="ADAL" clId="{CC7DA4CC-6E47-4FFE-85B0-D72EB67E71C1}" dt="2022-02-01T09:18:01.057" v="209"/>
          <ac:spMkLst>
            <pc:docMk/>
            <pc:sldMk cId="2265651142" sldId="757"/>
            <ac:spMk id="37" creationId="{A8470288-A62C-4FA5-A72C-83BFADDE6B74}"/>
          </ac:spMkLst>
        </pc:spChg>
        <pc:grpChg chg="del">
          <ac:chgData name="GSVE (Gianluca Stivale)" userId="b2f3af48-7d3d-4911-89cc-4769d0faa1c3" providerId="ADAL" clId="{CC7DA4CC-6E47-4FFE-85B0-D72EB67E71C1}" dt="2022-02-01T08:59:46.588" v="36" actId="478"/>
          <ac:grpSpMkLst>
            <pc:docMk/>
            <pc:sldMk cId="2265651142" sldId="757"/>
            <ac:grpSpMk id="61" creationId="{00000000-0000-0000-0000-000000000000}"/>
          </ac:grpSpMkLst>
        </pc:grpChg>
        <pc:picChg chg="add del mod ord modCrop">
          <ac:chgData name="GSVE (Gianluca Stivale)" userId="b2f3af48-7d3d-4911-89cc-4769d0faa1c3" providerId="ADAL" clId="{CC7DA4CC-6E47-4FFE-85B0-D72EB67E71C1}" dt="2022-02-01T09:35:14.959" v="272" actId="478"/>
          <ac:picMkLst>
            <pc:docMk/>
            <pc:sldMk cId="2265651142" sldId="757"/>
            <ac:picMk id="12" creationId="{C9975E91-6E4F-40B6-9EA2-ACEA9BC83C20}"/>
          </ac:picMkLst>
        </pc:picChg>
        <pc:picChg chg="add del mod modCrop">
          <ac:chgData name="GSVE (Gianluca Stivale)" userId="b2f3af48-7d3d-4911-89cc-4769d0faa1c3" providerId="ADAL" clId="{CC7DA4CC-6E47-4FFE-85B0-D72EB67E71C1}" dt="2022-02-01T09:37:10.848" v="306" actId="478"/>
          <ac:picMkLst>
            <pc:docMk/>
            <pc:sldMk cId="2265651142" sldId="757"/>
            <ac:picMk id="14" creationId="{974B6F40-DD5B-461C-8A92-DE1D6EDA03CB}"/>
          </ac:picMkLst>
        </pc:picChg>
        <pc:picChg chg="add mod">
          <ac:chgData name="GSVE (Gianluca Stivale)" userId="b2f3af48-7d3d-4911-89cc-4769d0faa1c3" providerId="ADAL" clId="{CC7DA4CC-6E47-4FFE-85B0-D72EB67E71C1}" dt="2022-02-01T09:14:41.834" v="178" actId="1036"/>
          <ac:picMkLst>
            <pc:docMk/>
            <pc:sldMk cId="2265651142" sldId="757"/>
            <ac:picMk id="1026" creationId="{1050F57C-B061-41ED-8A3A-69369F13EFBA}"/>
          </ac:picMkLst>
        </pc:picChg>
        <pc:picChg chg="add mod">
          <ac:chgData name="GSVE (Gianluca Stivale)" userId="b2f3af48-7d3d-4911-89cc-4769d0faa1c3" providerId="ADAL" clId="{CC7DA4CC-6E47-4FFE-85B0-D72EB67E71C1}" dt="2022-02-01T09:14:29.760" v="168" actId="1076"/>
          <ac:picMkLst>
            <pc:docMk/>
            <pc:sldMk cId="2265651142" sldId="757"/>
            <ac:picMk id="1028" creationId="{D7C1F7FA-FF0D-45F3-9067-AA2323A5DCD3}"/>
          </ac:picMkLst>
        </pc:picChg>
        <pc:picChg chg="add del mod">
          <ac:chgData name="GSVE (Gianluca Stivale)" userId="b2f3af48-7d3d-4911-89cc-4769d0faa1c3" providerId="ADAL" clId="{CC7DA4CC-6E47-4FFE-85B0-D72EB67E71C1}" dt="2022-02-01T09:02:06.750" v="47" actId="478"/>
          <ac:picMkLst>
            <pc:docMk/>
            <pc:sldMk cId="2265651142" sldId="757"/>
            <ac:picMk id="1030" creationId="{097471E4-3517-4008-AD3F-DE49FF9F4308}"/>
          </ac:picMkLst>
        </pc:picChg>
      </pc:sldChg>
      <pc:sldChg chg="addSp modSp mod">
        <pc:chgData name="GSVE (Gianluca Stivale)" userId="b2f3af48-7d3d-4911-89cc-4769d0faa1c3" providerId="ADAL" clId="{CC7DA4CC-6E47-4FFE-85B0-D72EB67E71C1}" dt="2022-02-03T08:06:38.023" v="452" actId="1035"/>
        <pc:sldMkLst>
          <pc:docMk/>
          <pc:sldMk cId="743494391" sldId="2096975378"/>
        </pc:sldMkLst>
        <pc:spChg chg="mod">
          <ac:chgData name="GSVE (Gianluca Stivale)" userId="b2f3af48-7d3d-4911-89cc-4769d0faa1c3" providerId="ADAL" clId="{CC7DA4CC-6E47-4FFE-85B0-D72EB67E71C1}" dt="2022-02-03T08:06:34.980" v="449" actId="1076"/>
          <ac:spMkLst>
            <pc:docMk/>
            <pc:sldMk cId="743494391" sldId="2096975378"/>
            <ac:spMk id="6" creationId="{32BA5900-BFEE-4640-A0CE-2CCA686ED16F}"/>
          </ac:spMkLst>
        </pc:spChg>
        <pc:spChg chg="add mod">
          <ac:chgData name="GSVE (Gianluca Stivale)" userId="b2f3af48-7d3d-4911-89cc-4769d0faa1c3" providerId="ADAL" clId="{CC7DA4CC-6E47-4FFE-85B0-D72EB67E71C1}" dt="2022-02-03T08:06:38.023" v="452" actId="1035"/>
          <ac:spMkLst>
            <pc:docMk/>
            <pc:sldMk cId="743494391" sldId="2096975378"/>
            <ac:spMk id="68" creationId="{370D958A-37D3-461C-B50C-5C16FF22F532}"/>
          </ac:spMkLst>
        </pc:spChg>
      </pc:sldChg>
      <pc:sldChg chg="ord">
        <pc:chgData name="GSVE (Gianluca Stivale)" userId="b2f3af48-7d3d-4911-89cc-4769d0faa1c3" providerId="ADAL" clId="{CC7DA4CC-6E47-4FFE-85B0-D72EB67E71C1}" dt="2022-02-01T09:40:04.801" v="346"/>
        <pc:sldMkLst>
          <pc:docMk/>
          <pc:sldMk cId="3181971256" sldId="2096975783"/>
        </pc:sldMkLst>
      </pc:sldChg>
      <pc:sldChg chg="ord">
        <pc:chgData name="GSVE (Gianluca Stivale)" userId="b2f3af48-7d3d-4911-89cc-4769d0faa1c3" providerId="ADAL" clId="{CC7DA4CC-6E47-4FFE-85B0-D72EB67E71C1}" dt="2022-02-01T09:29:56.248" v="214"/>
        <pc:sldMkLst>
          <pc:docMk/>
          <pc:sldMk cId="1910899293" sldId="2096975849"/>
        </pc:sldMkLst>
      </pc:sldChg>
      <pc:sldChg chg="modSp">
        <pc:chgData name="GSVE (Gianluca Stivale)" userId="b2f3af48-7d3d-4911-89cc-4769d0faa1c3" providerId="ADAL" clId="{CC7DA4CC-6E47-4FFE-85B0-D72EB67E71C1}" dt="2022-02-03T08:28:26.661" v="592"/>
        <pc:sldMkLst>
          <pc:docMk/>
          <pc:sldMk cId="3657091910" sldId="2096975863"/>
        </pc:sldMkLst>
        <pc:picChg chg="mod">
          <ac:chgData name="GSVE (Gianluca Stivale)" userId="b2f3af48-7d3d-4911-89cc-4769d0faa1c3" providerId="ADAL" clId="{CC7DA4CC-6E47-4FFE-85B0-D72EB67E71C1}" dt="2022-02-03T08:28:26.661" v="592"/>
          <ac:picMkLst>
            <pc:docMk/>
            <pc:sldMk cId="3657091910" sldId="2096975863"/>
            <ac:picMk id="3" creationId="{115FB7A2-203D-414B-A6B1-D80F60729B53}"/>
          </ac:picMkLst>
        </pc:picChg>
        <pc:picChg chg="mod">
          <ac:chgData name="GSVE (Gianluca Stivale)" userId="b2f3af48-7d3d-4911-89cc-4769d0faa1c3" providerId="ADAL" clId="{CC7DA4CC-6E47-4FFE-85B0-D72EB67E71C1}" dt="2022-02-03T08:28:06.050" v="591"/>
          <ac:picMkLst>
            <pc:docMk/>
            <pc:sldMk cId="3657091910" sldId="2096975863"/>
            <ac:picMk id="5" creationId="{D100616B-99D2-47EB-A052-D1A295A9B49E}"/>
          </ac:picMkLst>
        </pc:picChg>
      </pc:sldChg>
      <pc:sldChg chg="ord">
        <pc:chgData name="GSVE (Gianluca Stivale)" userId="b2f3af48-7d3d-4911-89cc-4769d0faa1c3" providerId="ADAL" clId="{CC7DA4CC-6E47-4FFE-85B0-D72EB67E71C1}" dt="2022-02-03T18:13:13.433" v="822" actId="20578"/>
        <pc:sldMkLst>
          <pc:docMk/>
          <pc:sldMk cId="2678655462" sldId="2096975864"/>
        </pc:sldMkLst>
      </pc:sldChg>
      <pc:sldChg chg="addSp delSp modSp mod ord modAnim modShow">
        <pc:chgData name="GSVE (Gianluca Stivale)" userId="b2f3af48-7d3d-4911-89cc-4769d0faa1c3" providerId="ADAL" clId="{CC7DA4CC-6E47-4FFE-85B0-D72EB67E71C1}" dt="2022-02-03T18:20:37.312" v="824" actId="729"/>
        <pc:sldMkLst>
          <pc:docMk/>
          <pc:sldMk cId="572269678" sldId="2096975866"/>
        </pc:sldMkLst>
        <pc:picChg chg="add del">
          <ac:chgData name="GSVE (Gianluca Stivale)" userId="b2f3af48-7d3d-4911-89cc-4769d0faa1c3" providerId="ADAL" clId="{CC7DA4CC-6E47-4FFE-85B0-D72EB67E71C1}" dt="2022-02-03T11:42:06.729" v="736" actId="478"/>
          <ac:picMkLst>
            <pc:docMk/>
            <pc:sldMk cId="572269678" sldId="2096975866"/>
            <ac:picMk id="3" creationId="{47D7EAFC-D883-442C-BB38-F59D4C858260}"/>
          </ac:picMkLst>
        </pc:picChg>
        <pc:picChg chg="mod">
          <ac:chgData name="GSVE (Gianluca Stivale)" userId="b2f3af48-7d3d-4911-89cc-4769d0faa1c3" providerId="ADAL" clId="{CC7DA4CC-6E47-4FFE-85B0-D72EB67E71C1}" dt="2022-02-03T11:38:08.856" v="640" actId="1076"/>
          <ac:picMkLst>
            <pc:docMk/>
            <pc:sldMk cId="572269678" sldId="2096975866"/>
            <ac:picMk id="8" creationId="{00CB0B46-961D-490E-88E9-8F15D3196715}"/>
          </ac:picMkLst>
        </pc:picChg>
        <pc:picChg chg="add del">
          <ac:chgData name="GSVE (Gianluca Stivale)" userId="b2f3af48-7d3d-4911-89cc-4769d0faa1c3" providerId="ADAL" clId="{CC7DA4CC-6E47-4FFE-85B0-D72EB67E71C1}" dt="2022-02-03T11:42:06.729" v="736" actId="478"/>
          <ac:picMkLst>
            <pc:docMk/>
            <pc:sldMk cId="572269678" sldId="2096975866"/>
            <ac:picMk id="9" creationId="{CD16C454-A837-4ECC-8456-0F03318A9DB8}"/>
          </ac:picMkLst>
        </pc:picChg>
        <pc:picChg chg="mod">
          <ac:chgData name="GSVE (Gianluca Stivale)" userId="b2f3af48-7d3d-4911-89cc-4769d0faa1c3" providerId="ADAL" clId="{CC7DA4CC-6E47-4FFE-85B0-D72EB67E71C1}" dt="2022-02-03T11:42:24.715" v="764" actId="1037"/>
          <ac:picMkLst>
            <pc:docMk/>
            <pc:sldMk cId="572269678" sldId="2096975866"/>
            <ac:picMk id="11" creationId="{8899012E-9A47-476D-BBA9-968AEC998BBB}"/>
          </ac:picMkLst>
        </pc:pic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15" creationId="{C6749A17-F7C1-4360-821C-CC455B2D1C45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18" creationId="{14F3343C-6A31-40C9-9547-F859F1C17BEA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20" creationId="{9F5E9928-2842-463C-9ACA-921E3F2001F5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22" creationId="{16F5C255-9626-4DAF-9082-6127B5DEFDD5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24" creationId="{7D4FAE0A-43BC-460B-9C88-5AD8DD886475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26" creationId="{E00FA06B-B9B3-47F6-A17A-56511A15C1FC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28" creationId="{9EBE7DA9-BB20-4065-8947-FB5C5221080A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32" creationId="{45433BF0-FBC1-4BF3-9788-3E9464753501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35" creationId="{66F608D7-B42F-433B-817D-ACDD3EAD8DCF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37" creationId="{77A23E9D-7649-461A-AD0F-B19C11C3AAC4}"/>
          </ac:cxnSpMkLst>
        </pc:cxnChg>
        <pc:cxnChg chg="mod">
          <ac:chgData name="GSVE (Gianluca Stivale)" userId="b2f3af48-7d3d-4911-89cc-4769d0faa1c3" providerId="ADAL" clId="{CC7DA4CC-6E47-4FFE-85B0-D72EB67E71C1}" dt="2022-02-03T11:42:24.715" v="764" actId="1037"/>
          <ac:cxnSpMkLst>
            <pc:docMk/>
            <pc:sldMk cId="572269678" sldId="2096975866"/>
            <ac:cxnSpMk id="41" creationId="{26A87879-C608-4CC6-83D6-7DF1B3B24D61}"/>
          </ac:cxnSpMkLst>
        </pc:cxnChg>
      </pc:sldChg>
      <pc:sldChg chg="mod modShow">
        <pc:chgData name="GSVE (Gianluca Stivale)" userId="b2f3af48-7d3d-4911-89cc-4769d0faa1c3" providerId="ADAL" clId="{CC7DA4CC-6E47-4FFE-85B0-D72EB67E71C1}" dt="2022-02-01T18:43:18.092" v="355" actId="729"/>
        <pc:sldMkLst>
          <pc:docMk/>
          <pc:sldMk cId="2675079049" sldId="2096975868"/>
        </pc:sldMkLst>
      </pc:sldChg>
      <pc:sldChg chg="mod modShow">
        <pc:chgData name="GSVE (Gianluca Stivale)" userId="b2f3af48-7d3d-4911-89cc-4769d0faa1c3" providerId="ADAL" clId="{CC7DA4CC-6E47-4FFE-85B0-D72EB67E71C1}" dt="2022-02-07T12:37:13.416" v="836" actId="729"/>
        <pc:sldMkLst>
          <pc:docMk/>
          <pc:sldMk cId="961619446" sldId="2096975869"/>
        </pc:sldMkLst>
      </pc:sldChg>
      <pc:sldChg chg="add mod ord modShow">
        <pc:chgData name="GSVE (Gianluca Stivale)" userId="b2f3af48-7d3d-4911-89cc-4769d0faa1c3" providerId="ADAL" clId="{CC7DA4CC-6E47-4FFE-85B0-D72EB67E71C1}" dt="2022-02-07T12:00:45.333" v="830" actId="729"/>
        <pc:sldMkLst>
          <pc:docMk/>
          <pc:sldMk cId="1732487259" sldId="2096975870"/>
        </pc:sldMkLst>
      </pc:sldChg>
      <pc:sldChg chg="addSp delSp modSp mod ord modShow">
        <pc:chgData name="GSVE (Gianluca Stivale)" userId="b2f3af48-7d3d-4911-89cc-4769d0faa1c3" providerId="ADAL" clId="{CC7DA4CC-6E47-4FFE-85B0-D72EB67E71C1}" dt="2022-02-03T18:20:37.312" v="824" actId="729"/>
        <pc:sldMkLst>
          <pc:docMk/>
          <pc:sldMk cId="2608482495" sldId="2096975873"/>
        </pc:sldMkLst>
        <pc:spChg chg="add mod">
          <ac:chgData name="GSVE (Gianluca Stivale)" userId="b2f3af48-7d3d-4911-89cc-4769d0faa1c3" providerId="ADAL" clId="{CC7DA4CC-6E47-4FFE-85B0-D72EB67E71C1}" dt="2022-02-03T07:55:07.479" v="424" actId="164"/>
          <ac:spMkLst>
            <pc:docMk/>
            <pc:sldMk cId="2608482495" sldId="2096975873"/>
            <ac:spMk id="10" creationId="{B421936A-9D3A-473C-B403-86A7D805C86A}"/>
          </ac:spMkLst>
        </pc:spChg>
        <pc:spChg chg="add del mod">
          <ac:chgData name="GSVE (Gianluca Stivale)" userId="b2f3af48-7d3d-4911-89cc-4769d0faa1c3" providerId="ADAL" clId="{CC7DA4CC-6E47-4FFE-85B0-D72EB67E71C1}" dt="2022-02-03T07:55:01.023" v="423" actId="14100"/>
          <ac:spMkLst>
            <pc:docMk/>
            <pc:sldMk cId="2608482495" sldId="2096975873"/>
            <ac:spMk id="25" creationId="{90F16116-51AB-48DF-9EEB-855D3EAB97C2}"/>
          </ac:spMkLst>
        </pc:spChg>
        <pc:grpChg chg="add mod">
          <ac:chgData name="GSVE (Gianluca Stivale)" userId="b2f3af48-7d3d-4911-89cc-4769d0faa1c3" providerId="ADAL" clId="{CC7DA4CC-6E47-4FFE-85B0-D72EB67E71C1}" dt="2022-02-03T07:55:11.373" v="425" actId="1076"/>
          <ac:grpSpMkLst>
            <pc:docMk/>
            <pc:sldMk cId="2608482495" sldId="2096975873"/>
            <ac:grpSpMk id="2" creationId="{245D44DA-E735-4565-804C-1D5E5CA24026}"/>
          </ac:grpSpMkLst>
        </pc:grpChg>
        <pc:grpChg chg="mod">
          <ac:chgData name="GSVE (Gianluca Stivale)" userId="b2f3af48-7d3d-4911-89cc-4769d0faa1c3" providerId="ADAL" clId="{CC7DA4CC-6E47-4FFE-85B0-D72EB67E71C1}" dt="2022-02-03T07:55:07.479" v="424" actId="164"/>
          <ac:grpSpMkLst>
            <pc:docMk/>
            <pc:sldMk cId="2608482495" sldId="2096975873"/>
            <ac:grpSpMk id="6" creationId="{BDCBCCFD-298E-4A3B-B1BC-DE1211704367}"/>
          </ac:grpSpMkLst>
        </pc:grpChg>
      </pc:sldChg>
      <pc:sldChg chg="mod ord modShow">
        <pc:chgData name="GSVE (Gianluca Stivale)" userId="b2f3af48-7d3d-4911-89cc-4769d0faa1c3" providerId="ADAL" clId="{CC7DA4CC-6E47-4FFE-85B0-D72EB67E71C1}" dt="2022-02-01T09:30:01.185" v="217" actId="729"/>
        <pc:sldMkLst>
          <pc:docMk/>
          <pc:sldMk cId="3804314140" sldId="2134959158"/>
        </pc:sldMkLst>
      </pc:sldChg>
      <pc:sldChg chg="ord">
        <pc:chgData name="GSVE (Gianluca Stivale)" userId="b2f3af48-7d3d-4911-89cc-4769d0faa1c3" providerId="ADAL" clId="{CC7DA4CC-6E47-4FFE-85B0-D72EB67E71C1}" dt="2022-02-03T18:13:13.433" v="822" actId="20578"/>
        <pc:sldMkLst>
          <pc:docMk/>
          <pc:sldMk cId="1703754542" sldId="2134959161"/>
        </pc:sldMkLst>
      </pc:sldChg>
      <pc:sldChg chg="mod ord modShow">
        <pc:chgData name="GSVE (Gianluca Stivale)" userId="b2f3af48-7d3d-4911-89cc-4769d0faa1c3" providerId="ADAL" clId="{CC7DA4CC-6E47-4FFE-85B0-D72EB67E71C1}" dt="2022-02-01T09:30:01.185" v="217" actId="729"/>
        <pc:sldMkLst>
          <pc:docMk/>
          <pc:sldMk cId="2835991586" sldId="2134959169"/>
        </pc:sldMkLst>
      </pc:sldChg>
      <pc:sldChg chg="modSp mod modAnim">
        <pc:chgData name="GSVE (Gianluca Stivale)" userId="b2f3af48-7d3d-4911-89cc-4769d0faa1c3" providerId="ADAL" clId="{CC7DA4CC-6E47-4FFE-85B0-D72EB67E71C1}" dt="2022-02-03T08:08:32.772" v="455" actId="1076"/>
        <pc:sldMkLst>
          <pc:docMk/>
          <pc:sldMk cId="4164796302" sldId="2134959179"/>
        </pc:sldMkLst>
        <pc:picChg chg="mod">
          <ac:chgData name="GSVE (Gianluca Stivale)" userId="b2f3af48-7d3d-4911-89cc-4769d0faa1c3" providerId="ADAL" clId="{CC7DA4CC-6E47-4FFE-85B0-D72EB67E71C1}" dt="2022-02-03T08:08:32.772" v="455" actId="1076"/>
          <ac:picMkLst>
            <pc:docMk/>
            <pc:sldMk cId="4164796302" sldId="2134959179"/>
            <ac:picMk id="5" creationId="{A5043E22-4EDF-4E00-838E-19987409EA5A}"/>
          </ac:picMkLst>
        </pc:picChg>
      </pc:sldChg>
      <pc:sldChg chg="addSp delSp modSp mod">
        <pc:chgData name="GSVE (Gianluca Stivale)" userId="b2f3af48-7d3d-4911-89cc-4769d0faa1c3" providerId="ADAL" clId="{CC7DA4CC-6E47-4FFE-85B0-D72EB67E71C1}" dt="2022-02-03T08:23:56.920" v="590" actId="478"/>
        <pc:sldMkLst>
          <pc:docMk/>
          <pc:sldMk cId="1404353785" sldId="2134959188"/>
        </pc:sldMkLst>
        <pc:spChg chg="add del mod">
          <ac:chgData name="GSVE (Gianluca Stivale)" userId="b2f3af48-7d3d-4911-89cc-4769d0faa1c3" providerId="ADAL" clId="{CC7DA4CC-6E47-4FFE-85B0-D72EB67E71C1}" dt="2022-02-03T08:23:56.920" v="590" actId="478"/>
          <ac:spMkLst>
            <pc:docMk/>
            <pc:sldMk cId="1404353785" sldId="2134959188"/>
            <ac:spMk id="2" creationId="{CF510DE4-9DBD-4F5A-8568-DC1F44FAC8F5}"/>
          </ac:spMkLst>
        </pc:spChg>
      </pc:sldChg>
      <pc:sldChg chg="mod modShow">
        <pc:chgData name="GSVE (Gianluca Stivale)" userId="b2f3af48-7d3d-4911-89cc-4769d0faa1c3" providerId="ADAL" clId="{CC7DA4CC-6E47-4FFE-85B0-D72EB67E71C1}" dt="2022-02-01T09:18:09.844" v="210" actId="729"/>
        <pc:sldMkLst>
          <pc:docMk/>
          <pc:sldMk cId="3811804798" sldId="2134959189"/>
        </pc:sldMkLst>
      </pc:sldChg>
      <pc:sldChg chg="modSp mod">
        <pc:chgData name="GSVE (Gianluca Stivale)" userId="b2f3af48-7d3d-4911-89cc-4769d0faa1c3" providerId="ADAL" clId="{CC7DA4CC-6E47-4FFE-85B0-D72EB67E71C1}" dt="2022-02-01T18:48:46.006" v="357" actId="1038"/>
        <pc:sldMkLst>
          <pc:docMk/>
          <pc:sldMk cId="3788759727" sldId="2134959190"/>
        </pc:sldMkLst>
        <pc:spChg chg="mod">
          <ac:chgData name="GSVE (Gianluca Stivale)" userId="b2f3af48-7d3d-4911-89cc-4769d0faa1c3" providerId="ADAL" clId="{CC7DA4CC-6E47-4FFE-85B0-D72EB67E71C1}" dt="2022-02-01T18:48:46.006" v="357" actId="1038"/>
          <ac:spMkLst>
            <pc:docMk/>
            <pc:sldMk cId="3788759727" sldId="2134959190"/>
            <ac:spMk id="7" creationId="{CF943061-2DBD-46C0-AD3D-F6E772DAC925}"/>
          </ac:spMkLst>
        </pc:spChg>
      </pc:sldChg>
      <pc:sldChg chg="addSp modSp add mod modShow">
        <pc:chgData name="GSVE (Gianluca Stivale)" userId="b2f3af48-7d3d-4911-89cc-4769d0faa1c3" providerId="ADAL" clId="{CC7DA4CC-6E47-4FFE-85B0-D72EB67E71C1}" dt="2022-02-03T12:42:03.657" v="767" actId="729"/>
        <pc:sldMkLst>
          <pc:docMk/>
          <pc:sldMk cId="2275524423" sldId="2134959197"/>
        </pc:sldMkLst>
        <pc:spChg chg="add mod">
          <ac:chgData name="GSVE (Gianluca Stivale)" userId="b2f3af48-7d3d-4911-89cc-4769d0faa1c3" providerId="ADAL" clId="{CC7DA4CC-6E47-4FFE-85B0-D72EB67E71C1}" dt="2022-02-01T08:59:24.979" v="18"/>
          <ac:spMkLst>
            <pc:docMk/>
            <pc:sldMk cId="2275524423" sldId="2134959197"/>
            <ac:spMk id="17" creationId="{0E6EE50A-1937-4405-B7A4-BBC574EC615E}"/>
          </ac:spMkLst>
        </pc:spChg>
      </pc:sldChg>
      <pc:sldChg chg="add del">
        <pc:chgData name="GSVE (Gianluca Stivale)" userId="b2f3af48-7d3d-4911-89cc-4769d0faa1c3" providerId="ADAL" clId="{CC7DA4CC-6E47-4FFE-85B0-D72EB67E71C1}" dt="2022-02-01T09:37:26.262" v="308" actId="47"/>
        <pc:sldMkLst>
          <pc:docMk/>
          <pc:sldMk cId="634491543" sldId="2134959198"/>
        </pc:sldMkLst>
      </pc:sldChg>
      <pc:sldChg chg="addSp delSp modSp add del mod">
        <pc:chgData name="GSVE (Gianluca Stivale)" userId="b2f3af48-7d3d-4911-89cc-4769d0faa1c3" providerId="ADAL" clId="{CC7DA4CC-6E47-4FFE-85B0-D72EB67E71C1}" dt="2022-02-01T19:08:44.816" v="403" actId="47"/>
        <pc:sldMkLst>
          <pc:docMk/>
          <pc:sldMk cId="2594737703" sldId="2134959198"/>
        </pc:sldMkLst>
        <pc:spChg chg="add del mod">
          <ac:chgData name="GSVE (Gianluca Stivale)" userId="b2f3af48-7d3d-4911-89cc-4769d0faa1c3" providerId="ADAL" clId="{CC7DA4CC-6E47-4FFE-85B0-D72EB67E71C1}" dt="2022-02-01T19:05:15.695" v="382" actId="478"/>
          <ac:spMkLst>
            <pc:docMk/>
            <pc:sldMk cId="2594737703" sldId="2134959198"/>
            <ac:spMk id="13" creationId="{CF0A5CA4-9852-4361-8ECF-3FDA319D9381}"/>
          </ac:spMkLst>
        </pc:spChg>
        <pc:spChg chg="add mod">
          <ac:chgData name="GSVE (Gianluca Stivale)" userId="b2f3af48-7d3d-4911-89cc-4769d0faa1c3" providerId="ADAL" clId="{CC7DA4CC-6E47-4FFE-85B0-D72EB67E71C1}" dt="2022-02-01T19:06:14.910" v="397" actId="1076"/>
          <ac:spMkLst>
            <pc:docMk/>
            <pc:sldMk cId="2594737703" sldId="2134959198"/>
            <ac:spMk id="14" creationId="{3182D35D-4549-4931-AF95-35582365A1C5}"/>
          </ac:spMkLst>
        </pc:spChg>
        <pc:spChg chg="mod">
          <ac:chgData name="GSVE (Gianluca Stivale)" userId="b2f3af48-7d3d-4911-89cc-4769d0faa1c3" providerId="ADAL" clId="{CC7DA4CC-6E47-4FFE-85B0-D72EB67E71C1}" dt="2022-02-01T19:06:51.717" v="400" actId="207"/>
          <ac:spMkLst>
            <pc:docMk/>
            <pc:sldMk cId="2594737703" sldId="2134959198"/>
            <ac:spMk id="15" creationId="{18D7344B-74CA-49C1-8F18-97F2217463DD}"/>
          </ac:spMkLst>
        </pc:spChg>
        <pc:spChg chg="mod">
          <ac:chgData name="GSVE (Gianluca Stivale)" userId="b2f3af48-7d3d-4911-89cc-4769d0faa1c3" providerId="ADAL" clId="{CC7DA4CC-6E47-4FFE-85B0-D72EB67E71C1}" dt="2022-02-01T19:06:36.570" v="399" actId="1076"/>
          <ac:spMkLst>
            <pc:docMk/>
            <pc:sldMk cId="2594737703" sldId="2134959198"/>
            <ac:spMk id="17" creationId="{D99443D4-2B3B-453E-8E89-09A1F42EC343}"/>
          </ac:spMkLst>
        </pc:spChg>
        <pc:spChg chg="mod">
          <ac:chgData name="GSVE (Gianluca Stivale)" userId="b2f3af48-7d3d-4911-89cc-4769d0faa1c3" providerId="ADAL" clId="{CC7DA4CC-6E47-4FFE-85B0-D72EB67E71C1}" dt="2022-02-01T19:06:51.717" v="400" actId="207"/>
          <ac:spMkLst>
            <pc:docMk/>
            <pc:sldMk cId="2594737703" sldId="2134959198"/>
            <ac:spMk id="31" creationId="{825AA73C-2284-49D3-90B8-EBB142E5719F}"/>
          </ac:spMkLst>
        </pc:spChg>
        <pc:spChg chg="mod">
          <ac:chgData name="GSVE (Gianluca Stivale)" userId="b2f3af48-7d3d-4911-89cc-4769d0faa1c3" providerId="ADAL" clId="{CC7DA4CC-6E47-4FFE-85B0-D72EB67E71C1}" dt="2022-02-01T19:06:51.717" v="400" actId="207"/>
          <ac:spMkLst>
            <pc:docMk/>
            <pc:sldMk cId="2594737703" sldId="2134959198"/>
            <ac:spMk id="32" creationId="{0E68D5D4-60AF-48C6-A633-080F4F3F3906}"/>
          </ac:spMkLst>
        </pc:spChg>
        <pc:spChg chg="mod">
          <ac:chgData name="GSVE (Gianluca Stivale)" userId="b2f3af48-7d3d-4911-89cc-4769d0faa1c3" providerId="ADAL" clId="{CC7DA4CC-6E47-4FFE-85B0-D72EB67E71C1}" dt="2022-02-01T09:42:10.051" v="351" actId="1076"/>
          <ac:spMkLst>
            <pc:docMk/>
            <pc:sldMk cId="2594737703" sldId="2134959198"/>
            <ac:spMk id="34" creationId="{70181331-BACB-4630-BF06-5650FC5E9C5F}"/>
          </ac:spMkLst>
        </pc:spChg>
        <pc:spChg chg="mod">
          <ac:chgData name="GSVE (Gianluca Stivale)" userId="b2f3af48-7d3d-4911-89cc-4769d0faa1c3" providerId="ADAL" clId="{CC7DA4CC-6E47-4FFE-85B0-D72EB67E71C1}" dt="2022-02-01T18:32:41.536" v="352" actId="20577"/>
          <ac:spMkLst>
            <pc:docMk/>
            <pc:sldMk cId="2594737703" sldId="2134959198"/>
            <ac:spMk id="35" creationId="{EC24C11D-8CEA-4238-9245-130418824F8B}"/>
          </ac:spMkLst>
        </pc:spChg>
        <pc:spChg chg="mod">
          <ac:chgData name="GSVE (Gianluca Stivale)" userId="b2f3af48-7d3d-4911-89cc-4769d0faa1c3" providerId="ADAL" clId="{CC7DA4CC-6E47-4FFE-85B0-D72EB67E71C1}" dt="2022-02-01T18:32:43.996" v="353" actId="20577"/>
          <ac:spMkLst>
            <pc:docMk/>
            <pc:sldMk cId="2594737703" sldId="2134959198"/>
            <ac:spMk id="36" creationId="{EE9A8005-5496-476E-96B4-189AA67A2CF1}"/>
          </ac:spMkLst>
        </pc:spChg>
      </pc:sldChg>
      <pc:sldChg chg="addSp delSp modSp add del mod">
        <pc:chgData name="GSVE (Gianluca Stivale)" userId="b2f3af48-7d3d-4911-89cc-4769d0faa1c3" providerId="ADAL" clId="{CC7DA4CC-6E47-4FFE-85B0-D72EB67E71C1}" dt="2022-02-03T11:42:06.114" v="735" actId="47"/>
        <pc:sldMkLst>
          <pc:docMk/>
          <pc:sldMk cId="3163995387" sldId="2134959199"/>
        </pc:sldMkLst>
        <pc:spChg chg="mod">
          <ac:chgData name="GSVE (Gianluca Stivale)" userId="b2f3af48-7d3d-4911-89cc-4769d0faa1c3" providerId="ADAL" clId="{CC7DA4CC-6E47-4FFE-85B0-D72EB67E71C1}" dt="2022-02-03T11:42:04.743" v="732" actId="1076"/>
          <ac:spMkLst>
            <pc:docMk/>
            <pc:sldMk cId="3163995387" sldId="2134959199"/>
            <ac:spMk id="15" creationId="{18D7344B-74CA-49C1-8F18-97F2217463DD}"/>
          </ac:spMkLst>
        </pc:spChg>
        <pc:spChg chg="add del mod">
          <ac:chgData name="GSVE (Gianluca Stivale)" userId="b2f3af48-7d3d-4911-89cc-4769d0faa1c3" providerId="ADAL" clId="{CC7DA4CC-6E47-4FFE-85B0-D72EB67E71C1}" dt="2022-02-03T11:42:03.749" v="727" actId="1076"/>
          <ac:spMkLst>
            <pc:docMk/>
            <pc:sldMk cId="3163995387" sldId="2134959199"/>
            <ac:spMk id="16" creationId="{D9EFF5E1-DA05-4D98-8661-EEB40068F4FA}"/>
          </ac:spMkLst>
        </pc:spChg>
        <pc:spChg chg="add del mod">
          <ac:chgData name="GSVE (Gianluca Stivale)" userId="b2f3af48-7d3d-4911-89cc-4769d0faa1c3" providerId="ADAL" clId="{CC7DA4CC-6E47-4FFE-85B0-D72EB67E71C1}" dt="2022-02-03T11:42:04.509" v="731" actId="1076"/>
          <ac:spMkLst>
            <pc:docMk/>
            <pc:sldMk cId="3163995387" sldId="2134959199"/>
            <ac:spMk id="18" creationId="{9D9EA32E-01ED-41FF-8D2B-06076A54FFCF}"/>
          </ac:spMkLst>
        </pc:spChg>
        <pc:spChg chg="mod">
          <ac:chgData name="GSVE (Gianluca Stivale)" userId="b2f3af48-7d3d-4911-89cc-4769d0faa1c3" providerId="ADAL" clId="{CC7DA4CC-6E47-4FFE-85B0-D72EB67E71C1}" dt="2022-02-03T11:40:11.247" v="700" actId="1038"/>
          <ac:spMkLst>
            <pc:docMk/>
            <pc:sldMk cId="3163995387" sldId="2134959199"/>
            <ac:spMk id="31" creationId="{825AA73C-2284-49D3-90B8-EBB142E5719F}"/>
          </ac:spMkLst>
        </pc:spChg>
        <pc:spChg chg="mod">
          <ac:chgData name="GSVE (Gianluca Stivale)" userId="b2f3af48-7d3d-4911-89cc-4769d0faa1c3" providerId="ADAL" clId="{CC7DA4CC-6E47-4FFE-85B0-D72EB67E71C1}" dt="2022-02-03T11:40:11.247" v="700" actId="1038"/>
          <ac:spMkLst>
            <pc:docMk/>
            <pc:sldMk cId="3163995387" sldId="2134959199"/>
            <ac:spMk id="32" creationId="{0E68D5D4-60AF-48C6-A633-080F4F3F3906}"/>
          </ac:spMkLst>
        </pc:spChg>
        <pc:spChg chg="mod">
          <ac:chgData name="GSVE (Gianluca Stivale)" userId="b2f3af48-7d3d-4911-89cc-4769d0faa1c3" providerId="ADAL" clId="{CC7DA4CC-6E47-4FFE-85B0-D72EB67E71C1}" dt="2022-02-03T11:40:11.247" v="700" actId="1038"/>
          <ac:spMkLst>
            <pc:docMk/>
            <pc:sldMk cId="3163995387" sldId="2134959199"/>
            <ac:spMk id="33" creationId="{4C769706-0581-485D-8500-1056E296E965}"/>
          </ac:spMkLst>
        </pc:spChg>
        <pc:spChg chg="mod">
          <ac:chgData name="GSVE (Gianluca Stivale)" userId="b2f3af48-7d3d-4911-89cc-4769d0faa1c3" providerId="ADAL" clId="{CC7DA4CC-6E47-4FFE-85B0-D72EB67E71C1}" dt="2022-02-03T11:40:11.247" v="700" actId="1038"/>
          <ac:spMkLst>
            <pc:docMk/>
            <pc:sldMk cId="3163995387" sldId="2134959199"/>
            <ac:spMk id="34" creationId="{70181331-BACB-4630-BF06-5650FC5E9C5F}"/>
          </ac:spMkLst>
        </pc:spChg>
        <pc:spChg chg="add del">
          <ac:chgData name="GSVE (Gianluca Stivale)" userId="b2f3af48-7d3d-4911-89cc-4769d0faa1c3" providerId="ADAL" clId="{CC7DA4CC-6E47-4FFE-85B0-D72EB67E71C1}" dt="2022-02-03T11:40:11.332" v="701" actId="478"/>
          <ac:spMkLst>
            <pc:docMk/>
            <pc:sldMk cId="3163995387" sldId="2134959199"/>
            <ac:spMk id="35" creationId="{EC24C11D-8CEA-4238-9245-130418824F8B}"/>
          </ac:spMkLst>
        </pc:spChg>
        <pc:spChg chg="add del">
          <ac:chgData name="GSVE (Gianluca Stivale)" userId="b2f3af48-7d3d-4911-89cc-4769d0faa1c3" providerId="ADAL" clId="{CC7DA4CC-6E47-4FFE-85B0-D72EB67E71C1}" dt="2022-02-03T11:40:11.332" v="701" actId="478"/>
          <ac:spMkLst>
            <pc:docMk/>
            <pc:sldMk cId="3163995387" sldId="2134959199"/>
            <ac:spMk id="36" creationId="{EE9A8005-5496-476E-96B4-189AA67A2CF1}"/>
          </ac:spMkLst>
        </pc:spChg>
        <pc:picChg chg="mod">
          <ac:chgData name="GSVE (Gianluca Stivale)" userId="b2f3af48-7d3d-4911-89cc-4769d0faa1c3" providerId="ADAL" clId="{CC7DA4CC-6E47-4FFE-85B0-D72EB67E71C1}" dt="2022-02-03T11:40:11.247" v="700" actId="1038"/>
          <ac:picMkLst>
            <pc:docMk/>
            <pc:sldMk cId="3163995387" sldId="2134959199"/>
            <ac:picMk id="1026" creationId="{1050F57C-B061-41ED-8A3A-69369F13EFBA}"/>
          </ac:picMkLst>
        </pc:picChg>
        <pc:picChg chg="mod">
          <ac:chgData name="GSVE (Gianluca Stivale)" userId="b2f3af48-7d3d-4911-89cc-4769d0faa1c3" providerId="ADAL" clId="{CC7DA4CC-6E47-4FFE-85B0-D72EB67E71C1}" dt="2022-02-03T11:40:11.247" v="700" actId="1038"/>
          <ac:picMkLst>
            <pc:docMk/>
            <pc:sldMk cId="3163995387" sldId="2134959199"/>
            <ac:picMk id="1028" creationId="{D7C1F7FA-FF0D-45F3-9067-AA2323A5DCD3}"/>
          </ac:picMkLst>
        </pc:picChg>
      </pc:sldChg>
      <pc:sldChg chg="add del">
        <pc:chgData name="GSVE (Gianluca Stivale)" userId="b2f3af48-7d3d-4911-89cc-4769d0faa1c3" providerId="ADAL" clId="{CC7DA4CC-6E47-4FFE-85B0-D72EB67E71C1}" dt="2022-02-01T09:42:04.122" v="350"/>
        <pc:sldMkLst>
          <pc:docMk/>
          <pc:sldMk cId="3603277718" sldId="2134959199"/>
        </pc:sldMkLst>
      </pc:sldChg>
      <pc:sldChg chg="addSp delSp modSp add del mod ord">
        <pc:chgData name="GSVE (Gianluca Stivale)" userId="b2f3af48-7d3d-4911-89cc-4769d0faa1c3" providerId="ADAL" clId="{CC7DA4CC-6E47-4FFE-85B0-D72EB67E71C1}" dt="2022-02-03T14:19:38.083" v="811" actId="47"/>
        <pc:sldMkLst>
          <pc:docMk/>
          <pc:sldMk cId="2007850068" sldId="2134959200"/>
        </pc:sldMkLst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14" creationId="{3182D35D-4549-4931-AF95-35582365A1C5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15" creationId="{18D7344B-74CA-49C1-8F18-97F2217463DD}"/>
          </ac:spMkLst>
        </pc:spChg>
        <pc:spChg chg="mod">
          <ac:chgData name="GSVE (Gianluca Stivale)" userId="b2f3af48-7d3d-4911-89cc-4769d0faa1c3" providerId="ADAL" clId="{CC7DA4CC-6E47-4FFE-85B0-D72EB67E71C1}" dt="2022-02-03T08:12:42.888" v="509" actId="6549"/>
          <ac:spMkLst>
            <pc:docMk/>
            <pc:sldMk cId="2007850068" sldId="2134959200"/>
            <ac:spMk id="17" creationId="{D99443D4-2B3B-453E-8E89-09A1F42EC343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19" creationId="{E632CE1D-26C8-4009-907A-F0D434F40825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0" creationId="{A96B16F7-84DB-4B13-9515-C2077B9F0097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1" creationId="{FC460F63-4719-4752-9FAC-D0F8062A5AE2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2" creationId="{C88ECCD8-ACBC-4BC2-98F4-E33C3780C7FD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3" creationId="{2AB87028-F797-4501-98C4-20F9F5DD85B1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4" creationId="{84EEA0BB-69F1-45C2-BEA6-D44DF214DF41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5" creationId="{3D7C7161-94AF-41D5-A947-91D77F60C808}"/>
          </ac:spMkLst>
        </pc:spChg>
        <pc:spChg chg="add mod">
          <ac:chgData name="GSVE (Gianluca Stivale)" userId="b2f3af48-7d3d-4911-89cc-4769d0faa1c3" providerId="ADAL" clId="{CC7DA4CC-6E47-4FFE-85B0-D72EB67E71C1}" dt="2022-02-03T09:20:28.534" v="593" actId="207"/>
          <ac:spMkLst>
            <pc:docMk/>
            <pc:sldMk cId="2007850068" sldId="2134959200"/>
            <ac:spMk id="26" creationId="{562AFB36-C443-4940-BDF6-2D45232A457A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1" creationId="{825AA73C-2284-49D3-90B8-EBB142E5719F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2" creationId="{0E68D5D4-60AF-48C6-A633-080F4F3F3906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3" creationId="{4C769706-0581-485D-8500-1056E296E965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4" creationId="{70181331-BACB-4630-BF06-5650FC5E9C5F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5" creationId="{EC24C11D-8CEA-4238-9245-130418824F8B}"/>
          </ac:spMkLst>
        </pc:spChg>
        <pc:spChg chg="del">
          <ac:chgData name="GSVE (Gianluca Stivale)" userId="b2f3af48-7d3d-4911-89cc-4769d0faa1c3" providerId="ADAL" clId="{CC7DA4CC-6E47-4FFE-85B0-D72EB67E71C1}" dt="2022-02-03T07:59:28.720" v="427" actId="478"/>
          <ac:spMkLst>
            <pc:docMk/>
            <pc:sldMk cId="2007850068" sldId="2134959200"/>
            <ac:spMk id="36" creationId="{EE9A8005-5496-476E-96B4-189AA67A2CF1}"/>
          </ac:spMkLst>
        </pc:spChg>
        <pc:picChg chg="add mod modCrop">
          <ac:chgData name="GSVE (Gianluca Stivale)" userId="b2f3af48-7d3d-4911-89cc-4769d0faa1c3" providerId="ADAL" clId="{CC7DA4CC-6E47-4FFE-85B0-D72EB67E71C1}" dt="2022-02-03T08:15:54.947" v="581" actId="1035"/>
          <ac:picMkLst>
            <pc:docMk/>
            <pc:sldMk cId="2007850068" sldId="2134959200"/>
            <ac:picMk id="16" creationId="{D715B61C-641D-4B1E-B137-79A095C01F89}"/>
          </ac:picMkLst>
        </pc:picChg>
        <pc:picChg chg="add mod modCrop">
          <ac:chgData name="GSVE (Gianluca Stivale)" userId="b2f3af48-7d3d-4911-89cc-4769d0faa1c3" providerId="ADAL" clId="{CC7DA4CC-6E47-4FFE-85B0-D72EB67E71C1}" dt="2022-02-03T08:15:54.947" v="581" actId="1035"/>
          <ac:picMkLst>
            <pc:docMk/>
            <pc:sldMk cId="2007850068" sldId="2134959200"/>
            <ac:picMk id="18" creationId="{4DA2E92A-F106-4577-809C-C3F8EB4FFA76}"/>
          </ac:picMkLst>
        </pc:picChg>
        <pc:picChg chg="del">
          <ac:chgData name="GSVE (Gianluca Stivale)" userId="b2f3af48-7d3d-4911-89cc-4769d0faa1c3" providerId="ADAL" clId="{CC7DA4CC-6E47-4FFE-85B0-D72EB67E71C1}" dt="2022-02-03T07:59:28.720" v="427" actId="478"/>
          <ac:picMkLst>
            <pc:docMk/>
            <pc:sldMk cId="2007850068" sldId="2134959200"/>
            <ac:picMk id="1026" creationId="{1050F57C-B061-41ED-8A3A-69369F13EFBA}"/>
          </ac:picMkLst>
        </pc:picChg>
        <pc:picChg chg="del">
          <ac:chgData name="GSVE (Gianluca Stivale)" userId="b2f3af48-7d3d-4911-89cc-4769d0faa1c3" providerId="ADAL" clId="{CC7DA4CC-6E47-4FFE-85B0-D72EB67E71C1}" dt="2022-02-03T07:59:28.720" v="427" actId="478"/>
          <ac:picMkLst>
            <pc:docMk/>
            <pc:sldMk cId="2007850068" sldId="2134959200"/>
            <ac:picMk id="1028" creationId="{D7C1F7FA-FF0D-45F3-9067-AA2323A5DCD3}"/>
          </ac:picMkLst>
        </pc:picChg>
      </pc:sldChg>
      <pc:sldChg chg="add del mod ord modShow">
        <pc:chgData name="GSVE (Gianluca Stivale)" userId="b2f3af48-7d3d-4911-89cc-4769d0faa1c3" providerId="ADAL" clId="{CC7DA4CC-6E47-4FFE-85B0-D72EB67E71C1}" dt="2022-02-03T18:20:37.312" v="824" actId="729"/>
        <pc:sldMkLst>
          <pc:docMk/>
          <pc:sldMk cId="490554044" sldId="2134959201"/>
        </pc:sldMkLst>
      </pc:sldChg>
      <pc:sldChg chg="add del mod ord modShow">
        <pc:chgData name="GSVE (Gianluca Stivale)" userId="b2f3af48-7d3d-4911-89cc-4769d0faa1c3" providerId="ADAL" clId="{CC7DA4CC-6E47-4FFE-85B0-D72EB67E71C1}" dt="2022-02-07T12:30:49.956" v="832" actId="47"/>
        <pc:sldMkLst>
          <pc:docMk/>
          <pc:sldMk cId="2406533319" sldId="2134959202"/>
        </pc:sldMkLst>
      </pc:sldChg>
      <pc:sldChg chg="modSp mod ord modShow">
        <pc:chgData name="GSVE (Gianluca Stivale)" userId="b2f3af48-7d3d-4911-89cc-4769d0faa1c3" providerId="ADAL" clId="{CC7DA4CC-6E47-4FFE-85B0-D72EB67E71C1}" dt="2022-02-03T18:20:37.312" v="824" actId="729"/>
        <pc:sldMkLst>
          <pc:docMk/>
          <pc:sldMk cId="1484890116" sldId="2134959203"/>
        </pc:sldMkLst>
        <pc:spChg chg="mod">
          <ac:chgData name="GSVE (Gianluca Stivale)" userId="b2f3af48-7d3d-4911-89cc-4769d0faa1c3" providerId="ADAL" clId="{CC7DA4CC-6E47-4FFE-85B0-D72EB67E71C1}" dt="2022-02-03T14:19:32.707" v="810" actId="6549"/>
          <ac:spMkLst>
            <pc:docMk/>
            <pc:sldMk cId="1484890116" sldId="2134959203"/>
            <ac:spMk id="17" creationId="{D99443D4-2B3B-453E-8E89-09A1F42EC343}"/>
          </ac:spMkLst>
        </pc:spChg>
      </pc:sldChg>
      <pc:sldChg chg="add del">
        <pc:chgData name="GSVE (Gianluca Stivale)" userId="b2f3af48-7d3d-4911-89cc-4769d0faa1c3" providerId="ADAL" clId="{CC7DA4CC-6E47-4FFE-85B0-D72EB67E71C1}" dt="2022-02-03T14:19:15.642" v="777"/>
        <pc:sldMkLst>
          <pc:docMk/>
          <pc:sldMk cId="3856199160" sldId="2134959203"/>
        </pc:sldMkLst>
      </pc:sldChg>
      <pc:sldChg chg="addSp modSp add del">
        <pc:chgData name="GSVE (Gianluca Stivale)" userId="b2f3af48-7d3d-4911-89cc-4769d0faa1c3" providerId="ADAL" clId="{CC7DA4CC-6E47-4FFE-85B0-D72EB67E71C1}" dt="2022-02-07T20:52:59.120" v="839" actId="47"/>
        <pc:sldMkLst>
          <pc:docMk/>
          <pc:sldMk cId="4166918666" sldId="2134959204"/>
        </pc:sldMkLst>
        <pc:spChg chg="add mod">
          <ac:chgData name="GSVE (Gianluca Stivale)" userId="b2f3af48-7d3d-4911-89cc-4769d0faa1c3" providerId="ADAL" clId="{CC7DA4CC-6E47-4FFE-85B0-D72EB67E71C1}" dt="2022-02-07T12:41:00.916" v="837"/>
          <ac:spMkLst>
            <pc:docMk/>
            <pc:sldMk cId="4166918666" sldId="2134959204"/>
            <ac:spMk id="9" creationId="{64AA739F-76BC-4D8A-BF00-B1EAD1F0D9F5}"/>
          </ac:spMkLst>
        </pc:spChg>
      </pc:sldChg>
      <pc:sldChg chg="addSp modSp add">
        <pc:chgData name="GSVE (Gianluca Stivale)" userId="b2f3af48-7d3d-4911-89cc-4769d0faa1c3" providerId="ADAL" clId="{CC7DA4CC-6E47-4FFE-85B0-D72EB67E71C1}" dt="2022-02-07T20:58:55.052" v="840"/>
        <pc:sldMkLst>
          <pc:docMk/>
          <pc:sldMk cId="3090129576" sldId="2134959205"/>
        </pc:sldMkLst>
        <pc:spChg chg="add mod">
          <ac:chgData name="GSVE (Gianluca Stivale)" userId="b2f3af48-7d3d-4911-89cc-4769d0faa1c3" providerId="ADAL" clId="{CC7DA4CC-6E47-4FFE-85B0-D72EB67E71C1}" dt="2022-02-07T20:58:55.052" v="840"/>
          <ac:spMkLst>
            <pc:docMk/>
            <pc:sldMk cId="3090129576" sldId="2134959205"/>
            <ac:spMk id="33" creationId="{CF42BB76-8E21-4C35-9B15-B450182C8C42}"/>
          </ac:spMkLst>
        </pc:spChg>
      </pc:sldChg>
      <pc:sldChg chg="add del">
        <pc:chgData name="GSVE (Gianluca Stivale)" userId="b2f3af48-7d3d-4911-89cc-4769d0faa1c3" providerId="ADAL" clId="{CC7DA4CC-6E47-4FFE-85B0-D72EB67E71C1}" dt="2022-02-07T12:36:52.325" v="835" actId="47"/>
        <pc:sldMkLst>
          <pc:docMk/>
          <pc:sldMk cId="3607993472" sldId="2134959206"/>
        </pc:sldMkLst>
      </pc:sldChg>
      <pc:sldChg chg="add">
        <pc:chgData name="GSVE (Gianluca Stivale)" userId="b2f3af48-7d3d-4911-89cc-4769d0faa1c3" providerId="ADAL" clId="{CC7DA4CC-6E47-4FFE-85B0-D72EB67E71C1}" dt="2022-02-07T12:36:50.519" v="834"/>
        <pc:sldMkLst>
          <pc:docMk/>
          <pc:sldMk cId="4208729813" sldId="2134959209"/>
        </pc:sldMkLst>
      </pc:sldChg>
      <pc:sldChg chg="add">
        <pc:chgData name="GSVE (Gianluca Stivale)" userId="b2f3af48-7d3d-4911-89cc-4769d0faa1c3" providerId="ADAL" clId="{CC7DA4CC-6E47-4FFE-85B0-D72EB67E71C1}" dt="2022-02-07T20:52:57.732" v="838"/>
        <pc:sldMkLst>
          <pc:docMk/>
          <pc:sldMk cId="3526653420" sldId="2134959210"/>
        </pc:sldMkLst>
      </pc:sldChg>
    </pc:docChg>
  </pc:docChgLst>
  <pc:docChgLst>
    <pc:chgData name="GSVE (Gianluca Stivale)" userId="b2f3af48-7d3d-4911-89cc-4769d0faa1c3" providerId="ADAL" clId="{58BB684F-0117-4D7C-9279-1FEE34449730}"/>
    <pc:docChg chg="undo custSel delSld modSld sldOrd delMainMaster delSection modSection">
      <pc:chgData name="GSVE (Gianluca Stivale)" userId="b2f3af48-7d3d-4911-89cc-4769d0faa1c3" providerId="ADAL" clId="{58BB684F-0117-4D7C-9279-1FEE34449730}" dt="2022-04-11T18:14:00.935" v="47" actId="27636"/>
      <pc:docMkLst>
        <pc:docMk/>
      </pc:docMkLst>
      <pc:sldChg chg="modNotes modNotesTx">
        <pc:chgData name="GSVE (Gianluca Stivale)" userId="b2f3af48-7d3d-4911-89cc-4769d0faa1c3" providerId="ADAL" clId="{58BB684F-0117-4D7C-9279-1FEE34449730}" dt="2022-04-11T17:24:50.091" v="2" actId="27636"/>
        <pc:sldMkLst>
          <pc:docMk/>
          <pc:sldMk cId="522573127" sldId="262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271115715" sldId="283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0" sldId="338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1142741388" sldId="702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2122526610" sldId="725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2918337567" sldId="834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596908770" sldId="974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1446162811" sldId="1152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309483073" sldId="1228"/>
        </pc:sldMkLst>
      </pc:sldChg>
      <pc:sldChg chg="del">
        <pc:chgData name="GSVE (Gianluca Stivale)" userId="b2f3af48-7d3d-4911-89cc-4769d0faa1c3" providerId="ADAL" clId="{58BB684F-0117-4D7C-9279-1FEE34449730}" dt="2022-04-11T17:24:57.845" v="3" actId="47"/>
        <pc:sldMkLst>
          <pc:docMk/>
          <pc:sldMk cId="3420108667" sldId="2243"/>
        </pc:sldMkLst>
      </pc:sldChg>
      <pc:sldChg chg="modNotesTx">
        <pc:chgData name="GSVE (Gianluca Stivale)" userId="b2f3af48-7d3d-4911-89cc-4769d0faa1c3" providerId="ADAL" clId="{58BB684F-0117-4D7C-9279-1FEE34449730}" dt="2022-04-11T17:24:49.906" v="1" actId="20577"/>
        <pc:sldMkLst>
          <pc:docMk/>
          <pc:sldMk cId="453846528" sldId="2246"/>
        </pc:sldMkLst>
      </pc:sldChg>
      <pc:sldChg chg="del">
        <pc:chgData name="GSVE (Gianluca Stivale)" userId="b2f3af48-7d3d-4911-89cc-4769d0faa1c3" providerId="ADAL" clId="{58BB684F-0117-4D7C-9279-1FEE34449730}" dt="2022-04-11T17:25:21.114" v="5" actId="47"/>
        <pc:sldMkLst>
          <pc:docMk/>
          <pc:sldMk cId="1601230446" sldId="3583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198454668" sldId="3597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743494391" sldId="2096975378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2912392708" sldId="2096975486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179720968" sldId="2096975648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3181971256" sldId="2096975783"/>
        </pc:sldMkLst>
      </pc:sldChg>
      <pc:sldChg chg="del">
        <pc:chgData name="GSVE (Gianluca Stivale)" userId="b2f3af48-7d3d-4911-89cc-4769d0faa1c3" providerId="ADAL" clId="{58BB684F-0117-4D7C-9279-1FEE34449730}" dt="2022-04-11T17:25:11.776" v="4" actId="47"/>
        <pc:sldMkLst>
          <pc:docMk/>
          <pc:sldMk cId="1910231462" sldId="2096975803"/>
        </pc:sldMkLst>
      </pc:sldChg>
      <pc:sldChg chg="mod ord modShow">
        <pc:chgData name="GSVE (Gianluca Stivale)" userId="b2f3af48-7d3d-4911-89cc-4769d0faa1c3" providerId="ADAL" clId="{58BB684F-0117-4D7C-9279-1FEE34449730}" dt="2022-04-11T17:31:27.509" v="29" actId="729"/>
        <pc:sldMkLst>
          <pc:docMk/>
          <pc:sldMk cId="2762012701" sldId="2096975830"/>
        </pc:sldMkLst>
      </pc:sldChg>
      <pc:sldChg chg="mod modShow modNotesTx">
        <pc:chgData name="GSVE (Gianluca Stivale)" userId="b2f3af48-7d3d-4911-89cc-4769d0faa1c3" providerId="ADAL" clId="{58BB684F-0117-4D7C-9279-1FEE34449730}" dt="2022-04-11T17:35:20.049" v="41" actId="6549"/>
        <pc:sldMkLst>
          <pc:docMk/>
          <pc:sldMk cId="1222070600" sldId="2096975834"/>
        </pc:sldMkLst>
      </pc:sldChg>
      <pc:sldChg chg="addSp modSp">
        <pc:chgData name="GSVE (Gianluca Stivale)" userId="b2f3af48-7d3d-4911-89cc-4769d0faa1c3" providerId="ADAL" clId="{58BB684F-0117-4D7C-9279-1FEE34449730}" dt="2022-04-11T18:14:00.935" v="47" actId="27636"/>
        <pc:sldMkLst>
          <pc:docMk/>
          <pc:sldMk cId="3944817199" sldId="2096975839"/>
        </pc:sldMkLst>
        <pc:picChg chg="add mod">
          <ac:chgData name="GSVE (Gianluca Stivale)" userId="b2f3af48-7d3d-4911-89cc-4769d0faa1c3" providerId="ADAL" clId="{58BB684F-0117-4D7C-9279-1FEE34449730}" dt="2022-04-11T18:14:00.935" v="47" actId="27636"/>
          <ac:picMkLst>
            <pc:docMk/>
            <pc:sldMk cId="3944817199" sldId="2096975839"/>
            <ac:picMk id="19" creationId="{BDDE6872-5933-4ACE-AC9C-BD5AF513C3E8}"/>
          </ac:picMkLst>
        </pc:picChg>
      </pc:sldChg>
      <pc:sldChg chg="modNotesTx">
        <pc:chgData name="GSVE (Gianluca Stivale)" userId="b2f3af48-7d3d-4911-89cc-4769d0faa1c3" providerId="ADAL" clId="{58BB684F-0117-4D7C-9279-1FEE34449730}" dt="2022-04-11T17:36:20.196" v="43" actId="6549"/>
        <pc:sldMkLst>
          <pc:docMk/>
          <pc:sldMk cId="2146573937" sldId="2096975842"/>
        </pc:sldMkLst>
      </pc:sldChg>
      <pc:sldChg chg="ord">
        <pc:chgData name="GSVE (Gianluca Stivale)" userId="b2f3af48-7d3d-4911-89cc-4769d0faa1c3" providerId="ADAL" clId="{58BB684F-0117-4D7C-9279-1FEE34449730}" dt="2022-04-11T17:31:48.153" v="31"/>
        <pc:sldMkLst>
          <pc:docMk/>
          <pc:sldMk cId="3743781151" sldId="2096975843"/>
        </pc:sldMkLst>
      </pc:sldChg>
      <pc:sldChg chg="ord">
        <pc:chgData name="GSVE (Gianluca Stivale)" userId="b2f3af48-7d3d-4911-89cc-4769d0faa1c3" providerId="ADAL" clId="{58BB684F-0117-4D7C-9279-1FEE34449730}" dt="2022-04-11T17:30:25.850" v="26"/>
        <pc:sldMkLst>
          <pc:docMk/>
          <pc:sldMk cId="2976863585" sldId="2096975847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1910899293" sldId="2096975849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706693247" sldId="2096975855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234423580" sldId="2096975856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3314339916" sldId="2096975857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2678655462" sldId="2096975864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1732487259" sldId="2096975870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377549629" sldId="2134804676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897641825" sldId="2134804677"/>
        </pc:sldMkLst>
      </pc:sldChg>
      <pc:sldChg chg="mod ord modShow">
        <pc:chgData name="GSVE (Gianluca Stivale)" userId="b2f3af48-7d3d-4911-89cc-4769d0faa1c3" providerId="ADAL" clId="{58BB684F-0117-4D7C-9279-1FEE34449730}" dt="2022-04-11T17:33:23.494" v="37" actId="729"/>
        <pc:sldMkLst>
          <pc:docMk/>
          <pc:sldMk cId="3434536979" sldId="2134804820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727723115" sldId="2134805482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3804314140" sldId="2134959158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879423868" sldId="2134959174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1157286125" sldId="2134959177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3690390280" sldId="2134959191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1357007381" sldId="2134959194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1747793347" sldId="2134959196"/>
        </pc:sldMkLst>
      </pc:sldChg>
      <pc:sldChg chg="del">
        <pc:chgData name="GSVE (Gianluca Stivale)" userId="b2f3af48-7d3d-4911-89cc-4769d0faa1c3" providerId="ADAL" clId="{58BB684F-0117-4D7C-9279-1FEE34449730}" dt="2022-04-11T17:30:13.080" v="24" actId="47"/>
        <pc:sldMkLst>
          <pc:docMk/>
          <pc:sldMk cId="1484890116" sldId="2134959203"/>
        </pc:sldMkLst>
      </pc:sldChg>
      <pc:sldChg chg="mod ord modShow">
        <pc:chgData name="GSVE (Gianluca Stivale)" userId="b2f3af48-7d3d-4911-89cc-4769d0faa1c3" providerId="ADAL" clId="{58BB684F-0117-4D7C-9279-1FEE34449730}" dt="2022-04-11T17:32:38.201" v="34" actId="729"/>
        <pc:sldMkLst>
          <pc:docMk/>
          <pc:sldMk cId="982016053" sldId="2134959212"/>
        </pc:sldMkLst>
      </pc:sldChg>
      <pc:sldChg chg="mod modShow">
        <pc:chgData name="GSVE (Gianluca Stivale)" userId="b2f3af48-7d3d-4911-89cc-4769d0faa1c3" providerId="ADAL" clId="{58BB684F-0117-4D7C-9279-1FEE34449730}" dt="2022-04-11T17:33:29.985" v="38" actId="729"/>
        <pc:sldMkLst>
          <pc:docMk/>
          <pc:sldMk cId="821810064" sldId="2134959213"/>
        </pc:sldMkLst>
      </pc:sldChg>
      <pc:sldChg chg="del">
        <pc:chgData name="GSVE (Gianluca Stivale)" userId="b2f3af48-7d3d-4911-89cc-4769d0faa1c3" providerId="ADAL" clId="{58BB684F-0117-4D7C-9279-1FEE34449730}" dt="2022-04-11T17:36:44.198" v="45" actId="47"/>
        <pc:sldMkLst>
          <pc:docMk/>
          <pc:sldMk cId="4081935598" sldId="2134959214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1695881644" sldId="2134959216"/>
        </pc:sldMkLst>
      </pc:sldChg>
      <pc:sldChg chg="modNotesTx">
        <pc:chgData name="GSVE (Gianluca Stivale)" userId="b2f3af48-7d3d-4911-89cc-4769d0faa1c3" providerId="ADAL" clId="{58BB684F-0117-4D7C-9279-1FEE34449730}" dt="2022-04-11T17:35:39.953" v="42" actId="6549"/>
        <pc:sldMkLst>
          <pc:docMk/>
          <pc:sldMk cId="3748330833" sldId="2134959217"/>
        </pc:sldMkLst>
      </pc:sldChg>
      <pc:sldChg chg="del">
        <pc:chgData name="GSVE (Gianluca Stivale)" userId="b2f3af48-7d3d-4911-89cc-4769d0faa1c3" providerId="ADAL" clId="{58BB684F-0117-4D7C-9279-1FEE34449730}" dt="2022-04-11T17:34:26.083" v="40" actId="47"/>
        <pc:sldMkLst>
          <pc:docMk/>
          <pc:sldMk cId="2245327464" sldId="2134959219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3386985956" sldId="2134959220"/>
        </pc:sldMkLst>
      </pc:sldChg>
      <pc:sldChg chg="del">
        <pc:chgData name="GSVE (Gianluca Stivale)" userId="b2f3af48-7d3d-4911-89cc-4769d0faa1c3" providerId="ADAL" clId="{58BB684F-0117-4D7C-9279-1FEE34449730}" dt="2022-04-11T17:33:50.550" v="39" actId="47"/>
        <pc:sldMkLst>
          <pc:docMk/>
          <pc:sldMk cId="2198858419" sldId="2134959221"/>
        </pc:sldMkLst>
      </pc:sldChg>
      <pc:sldChg chg="del">
        <pc:chgData name="GSVE (Gianluca Stivale)" userId="b2f3af48-7d3d-4911-89cc-4769d0faa1c3" providerId="ADAL" clId="{58BB684F-0117-4D7C-9279-1FEE34449730}" dt="2022-04-11T17:25:21.114" v="5" actId="47"/>
        <pc:sldMkLst>
          <pc:docMk/>
          <pc:sldMk cId="1019255884" sldId="2134959245"/>
        </pc:sldMkLst>
      </pc:sldChg>
      <pc:sldChg chg="addSp delSp modSp mod modAnim">
        <pc:chgData name="GSVE (Gianluca Stivale)" userId="b2f3af48-7d3d-4911-89cc-4769d0faa1c3" providerId="ADAL" clId="{58BB684F-0117-4D7C-9279-1FEE34449730}" dt="2022-04-11T17:29:36.341" v="23"/>
        <pc:sldMkLst>
          <pc:docMk/>
          <pc:sldMk cId="2426029301" sldId="2134959246"/>
        </pc:sldMkLst>
        <pc:spChg chg="mod">
          <ac:chgData name="GSVE (Gianluca Stivale)" userId="b2f3af48-7d3d-4911-89cc-4769d0faa1c3" providerId="ADAL" clId="{58BB684F-0117-4D7C-9279-1FEE34449730}" dt="2022-04-11T17:26:40.154" v="14" actId="1076"/>
          <ac:spMkLst>
            <pc:docMk/>
            <pc:sldMk cId="2426029301" sldId="2134959246"/>
            <ac:spMk id="3" creationId="{B48A1B8F-9C5B-43A6-B967-E4EDF4BFB204}"/>
          </ac:spMkLst>
        </pc:spChg>
        <pc:spChg chg="add del mod">
          <ac:chgData name="GSVE (Gianluca Stivale)" userId="b2f3af48-7d3d-4911-89cc-4769d0faa1c3" providerId="ADAL" clId="{58BB684F-0117-4D7C-9279-1FEE34449730}" dt="2022-04-11T17:29:23.198" v="22" actId="478"/>
          <ac:spMkLst>
            <pc:docMk/>
            <pc:sldMk cId="2426029301" sldId="2134959246"/>
            <ac:spMk id="13" creationId="{14CA9397-7E41-4828-B820-0F18017267A6}"/>
          </ac:spMkLst>
        </pc:spChg>
        <pc:spChg chg="add del mod">
          <ac:chgData name="GSVE (Gianluca Stivale)" userId="b2f3af48-7d3d-4911-89cc-4769d0faa1c3" providerId="ADAL" clId="{58BB684F-0117-4D7C-9279-1FEE34449730}" dt="2022-04-11T17:29:23.198" v="22" actId="478"/>
          <ac:spMkLst>
            <pc:docMk/>
            <pc:sldMk cId="2426029301" sldId="2134959246"/>
            <ac:spMk id="14" creationId="{CDECDB83-A60E-47D1-9BE7-0AADA759271A}"/>
          </ac:spMkLst>
        </pc:spChg>
        <pc:spChg chg="add del mod">
          <ac:chgData name="GSVE (Gianluca Stivale)" userId="b2f3af48-7d3d-4911-89cc-4769d0faa1c3" providerId="ADAL" clId="{58BB684F-0117-4D7C-9279-1FEE34449730}" dt="2022-04-11T17:29:23.198" v="22" actId="478"/>
          <ac:spMkLst>
            <pc:docMk/>
            <pc:sldMk cId="2426029301" sldId="2134959246"/>
            <ac:spMk id="15" creationId="{0666A7B7-39E1-4BCC-89FC-91988AAF8B7E}"/>
          </ac:spMkLst>
        </pc:spChg>
        <pc:spChg chg="add del mod">
          <ac:chgData name="GSVE (Gianluca Stivale)" userId="b2f3af48-7d3d-4911-89cc-4769d0faa1c3" providerId="ADAL" clId="{58BB684F-0117-4D7C-9279-1FEE34449730}" dt="2022-04-11T17:29:23.198" v="22" actId="478"/>
          <ac:spMkLst>
            <pc:docMk/>
            <pc:sldMk cId="2426029301" sldId="2134959246"/>
            <ac:spMk id="16" creationId="{5582F8F4-74DD-4675-8A37-75BFDCD29104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2" creationId="{9E6E577A-876C-430B-80C4-67BFC33550C5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3" creationId="{4E9B53E9-C5A8-4F5D-B042-DB3153C83003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4" creationId="{4B1310C5-0C7D-4B35-9CCF-342F092C6B13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5" creationId="{1EC7CBDF-CC13-4181-87CC-8A807B8BB3E5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6" creationId="{C76CF8EF-8A91-4C32-8C6D-462D37FED30D}"/>
          </ac:spMkLst>
        </pc:spChg>
        <pc:spChg chg="add mod">
          <ac:chgData name="GSVE (Gianluca Stivale)" userId="b2f3af48-7d3d-4911-89cc-4769d0faa1c3" providerId="ADAL" clId="{58BB684F-0117-4D7C-9279-1FEE34449730}" dt="2022-04-11T17:29:36.341" v="23"/>
          <ac:spMkLst>
            <pc:docMk/>
            <pc:sldMk cId="2426029301" sldId="2134959246"/>
            <ac:spMk id="27" creationId="{5526247A-FF51-41DE-9B68-7546F8ED03E7}"/>
          </ac:spMkLst>
        </pc:spChg>
        <pc:cxnChg chg="add mod">
          <ac:chgData name="GSVE (Gianluca Stivale)" userId="b2f3af48-7d3d-4911-89cc-4769d0faa1c3" providerId="ADAL" clId="{58BB684F-0117-4D7C-9279-1FEE34449730}" dt="2022-04-11T17:29:36.341" v="23"/>
          <ac:cxnSpMkLst>
            <pc:docMk/>
            <pc:sldMk cId="2426029301" sldId="2134959246"/>
            <ac:cxnSpMk id="17" creationId="{F8A0335F-4919-4017-8E28-AB2C2017A209}"/>
          </ac:cxnSpMkLst>
        </pc:cxnChg>
      </pc:sldChg>
      <pc:sldMasterChg chg="delSldLayout">
        <pc:chgData name="GSVE (Gianluca Stivale)" userId="b2f3af48-7d3d-4911-89cc-4769d0faa1c3" providerId="ADAL" clId="{58BB684F-0117-4D7C-9279-1FEE34449730}" dt="2022-04-11T17:36:44.198" v="45" actId="47"/>
        <pc:sldMasterMkLst>
          <pc:docMk/>
          <pc:sldMasterMk cId="180999990" sldId="2147483648"/>
        </pc:sldMasterMkLst>
        <pc:sldLayoutChg chg="del">
          <pc:chgData name="GSVE (Gianluca Stivale)" userId="b2f3af48-7d3d-4911-89cc-4769d0faa1c3" providerId="ADAL" clId="{58BB684F-0117-4D7C-9279-1FEE34449730}" dt="2022-04-11T17:30:13.080" v="24" actId="47"/>
          <pc:sldLayoutMkLst>
            <pc:docMk/>
            <pc:sldMasterMk cId="180999990" sldId="2147483648"/>
            <pc:sldLayoutMk cId="3876790595" sldId="2147483932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4:26.083" v="40" actId="47"/>
          <pc:sldLayoutMkLst>
            <pc:docMk/>
            <pc:sldMasterMk cId="180999990" sldId="2147483648"/>
            <pc:sldLayoutMk cId="2002421313" sldId="2147484022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4:26.083" v="40" actId="47"/>
          <pc:sldLayoutMkLst>
            <pc:docMk/>
            <pc:sldMasterMk cId="180999990" sldId="2147483648"/>
            <pc:sldLayoutMk cId="1329096874" sldId="2147484041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80999990" sldId="2147483648"/>
            <pc:sldLayoutMk cId="2324476057" sldId="2147484063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6:44.198" v="45" actId="47"/>
          <pc:sldLayoutMkLst>
            <pc:docMk/>
            <pc:sldMasterMk cId="180999990" sldId="2147483648"/>
            <pc:sldLayoutMk cId="778571841" sldId="2147484071"/>
          </pc:sldLayoutMkLst>
        </pc:sldLayoutChg>
      </pc:sldMasterChg>
      <pc:sldMasterChg chg="del delSldLayout">
        <pc:chgData name="GSVE (Gianluca Stivale)" userId="b2f3af48-7d3d-4911-89cc-4769d0faa1c3" providerId="ADAL" clId="{58BB684F-0117-4D7C-9279-1FEE34449730}" dt="2022-04-11T17:33:50.550" v="39" actId="47"/>
        <pc:sldMasterMkLst>
          <pc:docMk/>
          <pc:sldMasterMk cId="363477198" sldId="2147484067"/>
        </pc:sldMasterMkLst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363477198" sldId="2147484067"/>
            <pc:sldLayoutMk cId="2247058035" sldId="2147484068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363477198" sldId="2147484067"/>
            <pc:sldLayoutMk cId="1105204454" sldId="2147484069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363477198" sldId="2147484067"/>
            <pc:sldLayoutMk cId="3438752207" sldId="2147484070"/>
          </pc:sldLayoutMkLst>
        </pc:sldLayoutChg>
      </pc:sldMasterChg>
      <pc:sldMasterChg chg="del delSldLayout">
        <pc:chgData name="GSVE (Gianluca Stivale)" userId="b2f3af48-7d3d-4911-89cc-4769d0faa1c3" providerId="ADAL" clId="{58BB684F-0117-4D7C-9279-1FEE34449730}" dt="2022-04-11T17:33:50.550" v="39" actId="47"/>
        <pc:sldMasterMkLst>
          <pc:docMk/>
          <pc:sldMasterMk cId="1133670529" sldId="2147484073"/>
        </pc:sldMasterMkLst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651689100" sldId="2147484074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4035596414" sldId="2147484075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360277656" sldId="2147484076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1730891633" sldId="2147484077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728514990" sldId="2147484078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1275613149" sldId="2147484079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394542793" sldId="2147484080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295799167" sldId="2147484081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1717536588" sldId="2147484082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369069312" sldId="2147484083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051774757" sldId="2147484084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865180796" sldId="2147484085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520688623" sldId="2147484086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3305369214" sldId="2147484087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257878654" sldId="2147484088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2792379121" sldId="2147484089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594137368" sldId="2147484090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3014913836" sldId="2147484091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4248440766" sldId="2147484092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3270185629" sldId="2147484093"/>
          </pc:sldLayoutMkLst>
        </pc:sldLayoutChg>
        <pc:sldLayoutChg chg="del">
          <pc:chgData name="GSVE (Gianluca Stivale)" userId="b2f3af48-7d3d-4911-89cc-4769d0faa1c3" providerId="ADAL" clId="{58BB684F-0117-4D7C-9279-1FEE34449730}" dt="2022-04-11T17:33:50.550" v="39" actId="47"/>
          <pc:sldLayoutMkLst>
            <pc:docMk/>
            <pc:sldMasterMk cId="1133670529" sldId="2147484073"/>
            <pc:sldLayoutMk cId="4265871386" sldId="2147484094"/>
          </pc:sldLayoutMkLst>
        </pc:sldLayoutChg>
      </pc:sldMasterChg>
    </pc:docChg>
  </pc:docChgLst>
  <pc:docChgLst>
    <pc:chgData name="GSVE (Gianluca Stivale)" userId="b2f3af48-7d3d-4911-89cc-4769d0faa1c3" providerId="ADAL" clId="{40BADA8E-0A83-D54D-AF5C-8C335B8F9E8E}"/>
    <pc:docChg chg="custSel modSld">
      <pc:chgData name="GSVE (Gianluca Stivale)" userId="b2f3af48-7d3d-4911-89cc-4769d0faa1c3" providerId="ADAL" clId="{40BADA8E-0A83-D54D-AF5C-8C335B8F9E8E}" dt="2022-01-19T13:19:48.386" v="1" actId="27636"/>
      <pc:docMkLst>
        <pc:docMk/>
      </pc:docMkLst>
      <pc:sldChg chg="modSp">
        <pc:chgData name="GSVE (Gianluca Stivale)" userId="b2f3af48-7d3d-4911-89cc-4769d0faa1c3" providerId="ADAL" clId="{40BADA8E-0A83-D54D-AF5C-8C335B8F9E8E}" dt="2022-01-19T13:19:48.386" v="1" actId="27636"/>
        <pc:sldMkLst>
          <pc:docMk/>
          <pc:sldMk cId="1404353785" sldId="2134959188"/>
        </pc:sldMkLst>
        <pc:spChg chg="mod">
          <ac:chgData name="GSVE (Gianluca Stivale)" userId="b2f3af48-7d3d-4911-89cc-4769d0faa1c3" providerId="ADAL" clId="{40BADA8E-0A83-D54D-AF5C-8C335B8F9E8E}" dt="2022-01-19T13:19:48.386" v="1" actId="27636"/>
          <ac:spMkLst>
            <pc:docMk/>
            <pc:sldMk cId="1404353785" sldId="2134959188"/>
            <ac:spMk id="13" creationId="{4415F211-59A1-4129-A544-ED0E4B567FF5}"/>
          </ac:spMkLst>
        </pc:spChg>
      </pc:sldChg>
    </pc:docChg>
  </pc:docChgLst>
  <pc:docChgLst>
    <pc:chgData name="GSVE (Gianluca Stivale)" userId="b2f3af48-7d3d-4911-89cc-4769d0faa1c3" providerId="ADAL" clId="{CD35869E-DFFE-423B-BFF1-4CB4A63AC94C}"/>
    <pc:docChg chg="undo custSel addSld delSld modSld sldOrd">
      <pc:chgData name="GSVE (Gianluca Stivale)" userId="b2f3af48-7d3d-4911-89cc-4769d0faa1c3" providerId="ADAL" clId="{CD35869E-DFFE-423B-BFF1-4CB4A63AC94C}" dt="2022-03-14T09:49:20.281" v="1747" actId="20577"/>
      <pc:docMkLst>
        <pc:docMk/>
      </pc:docMkLst>
      <pc:sldChg chg="modSp mod">
        <pc:chgData name="GSVE (Gianluca Stivale)" userId="b2f3af48-7d3d-4911-89cc-4769d0faa1c3" providerId="ADAL" clId="{CD35869E-DFFE-423B-BFF1-4CB4A63AC94C}" dt="2022-02-23T18:53:44.142" v="1718" actId="403"/>
        <pc:sldMkLst>
          <pc:docMk/>
          <pc:sldMk cId="3598511070" sldId="265"/>
        </pc:sldMkLst>
        <pc:spChg chg="mod">
          <ac:chgData name="GSVE (Gianluca Stivale)" userId="b2f3af48-7d3d-4911-89cc-4769d0faa1c3" providerId="ADAL" clId="{CD35869E-DFFE-423B-BFF1-4CB4A63AC94C}" dt="2022-02-23T18:53:44.142" v="1718" actId="403"/>
          <ac:spMkLst>
            <pc:docMk/>
            <pc:sldMk cId="3598511070" sldId="265"/>
            <ac:spMk id="3" creationId="{43FF7D07-244D-4AD8-A533-938BDBF811F4}"/>
          </ac:spMkLst>
        </pc:spChg>
        <pc:spChg chg="mod">
          <ac:chgData name="GSVE (Gianluca Stivale)" userId="b2f3af48-7d3d-4911-89cc-4769d0faa1c3" providerId="ADAL" clId="{CD35869E-DFFE-423B-BFF1-4CB4A63AC94C}" dt="2022-02-23T18:53:41.933" v="1717" actId="14100"/>
          <ac:spMkLst>
            <pc:docMk/>
            <pc:sldMk cId="3598511070" sldId="265"/>
            <ac:spMk id="10" creationId="{F8826CA8-AAB7-4C74-A127-D44D838C3D24}"/>
          </ac:spMkLst>
        </pc:spChg>
      </pc:sldChg>
      <pc:sldChg chg="addSp modSp mod">
        <pc:chgData name="GSVE (Gianluca Stivale)" userId="b2f3af48-7d3d-4911-89cc-4769d0faa1c3" providerId="ADAL" clId="{CD35869E-DFFE-423B-BFF1-4CB4A63AC94C}" dt="2022-02-23T10:05:57.864" v="1710" actId="20577"/>
        <pc:sldMkLst>
          <pc:docMk/>
          <pc:sldMk cId="2918337567" sldId="834"/>
        </pc:sldMkLst>
        <pc:spChg chg="add mod">
          <ac:chgData name="GSVE (Gianluca Stivale)" userId="b2f3af48-7d3d-4911-89cc-4769d0faa1c3" providerId="ADAL" clId="{CD35869E-DFFE-423B-BFF1-4CB4A63AC94C}" dt="2022-02-23T10:05:32.101" v="1706" actId="20577"/>
          <ac:spMkLst>
            <pc:docMk/>
            <pc:sldMk cId="2918337567" sldId="834"/>
            <ac:spMk id="43" creationId="{40F9D64F-6506-450C-9BEE-2D8934F43127}"/>
          </ac:spMkLst>
        </pc:spChg>
        <pc:spChg chg="add mod">
          <ac:chgData name="GSVE (Gianluca Stivale)" userId="b2f3af48-7d3d-4911-89cc-4769d0faa1c3" providerId="ADAL" clId="{CD35869E-DFFE-423B-BFF1-4CB4A63AC94C}" dt="2022-02-23T10:05:57.864" v="1710" actId="20577"/>
          <ac:spMkLst>
            <pc:docMk/>
            <pc:sldMk cId="2918337567" sldId="834"/>
            <ac:spMk id="44" creationId="{9B63CDD7-61BA-468B-922C-B53690E8716E}"/>
          </ac:spMkLst>
        </pc:spChg>
      </pc:sldChg>
      <pc:sldChg chg="del modNotesTx">
        <pc:chgData name="GSVE (Gianluca Stivale)" userId="b2f3af48-7d3d-4911-89cc-4769d0faa1c3" providerId="ADAL" clId="{CD35869E-DFFE-423B-BFF1-4CB4A63AC94C}" dt="2022-02-23T19:00:56.364" v="1720" actId="47"/>
        <pc:sldMkLst>
          <pc:docMk/>
          <pc:sldMk cId="3631909600" sldId="1678"/>
        </pc:sldMkLst>
      </pc:sldChg>
      <pc:sldChg chg="add del">
        <pc:chgData name="GSVE (Gianluca Stivale)" userId="b2f3af48-7d3d-4911-89cc-4769d0faa1c3" providerId="ADAL" clId="{CD35869E-DFFE-423B-BFF1-4CB4A63AC94C}" dt="2022-02-18T13:47:25.975" v="1304"/>
        <pc:sldMkLst>
          <pc:docMk/>
          <pc:sldMk cId="3420108667" sldId="2243"/>
        </pc:sldMkLst>
      </pc:sldChg>
      <pc:sldChg chg="modNotesTx">
        <pc:chgData name="GSVE (Gianluca Stivale)" userId="b2f3af48-7d3d-4911-89cc-4769d0faa1c3" providerId="ADAL" clId="{CD35869E-DFFE-423B-BFF1-4CB4A63AC94C}" dt="2022-02-18T12:13:57.965" v="1231" actId="113"/>
        <pc:sldMkLst>
          <pc:docMk/>
          <pc:sldMk cId="453846528" sldId="2246"/>
        </pc:sldMkLst>
      </pc:sldChg>
      <pc:sldChg chg="add">
        <pc:chgData name="GSVE (Gianluca Stivale)" userId="b2f3af48-7d3d-4911-89cc-4769d0faa1c3" providerId="ADAL" clId="{CD35869E-DFFE-423B-BFF1-4CB4A63AC94C}" dt="2022-02-18T13:29:06.979" v="1302"/>
        <pc:sldMkLst>
          <pc:docMk/>
          <pc:sldMk cId="198454668" sldId="3597"/>
        </pc:sldMkLst>
      </pc:sldChg>
      <pc:sldChg chg="mod modShow">
        <pc:chgData name="GSVE (Gianluca Stivale)" userId="b2f3af48-7d3d-4911-89cc-4769d0faa1c3" providerId="ADAL" clId="{CD35869E-DFFE-423B-BFF1-4CB4A63AC94C}" dt="2022-02-11T13:15:50.637" v="209" actId="729"/>
        <pc:sldMkLst>
          <pc:docMk/>
          <pc:sldMk cId="1910231462" sldId="2096975803"/>
        </pc:sldMkLst>
      </pc:sldChg>
      <pc:sldChg chg="add mod ord modShow">
        <pc:chgData name="GSVE (Gianluca Stivale)" userId="b2f3af48-7d3d-4911-89cc-4769d0faa1c3" providerId="ADAL" clId="{CD35869E-DFFE-423B-BFF1-4CB4A63AC94C}" dt="2022-02-23T18:23:27.635" v="1714" actId="729"/>
        <pc:sldMkLst>
          <pc:docMk/>
          <pc:sldMk cId="2762012701" sldId="2096975830"/>
        </pc:sldMkLst>
      </pc:sldChg>
      <pc:sldChg chg="addSp modSp mod ord">
        <pc:chgData name="GSVE (Gianluca Stivale)" userId="b2f3af48-7d3d-4911-89cc-4769d0faa1c3" providerId="ADAL" clId="{CD35869E-DFFE-423B-BFF1-4CB4A63AC94C}" dt="2022-02-18T12:23:40.864" v="1297" actId="20577"/>
        <pc:sldMkLst>
          <pc:docMk/>
          <pc:sldMk cId="3944817199" sldId="2096975839"/>
        </pc:sldMkLst>
        <pc:spChg chg="add mod">
          <ac:chgData name="GSVE (Gianluca Stivale)" userId="b2f3af48-7d3d-4911-89cc-4769d0faa1c3" providerId="ADAL" clId="{CD35869E-DFFE-423B-BFF1-4CB4A63AC94C}" dt="2022-02-18T10:09:56.951" v="241" actId="20577"/>
          <ac:spMkLst>
            <pc:docMk/>
            <pc:sldMk cId="3944817199" sldId="2096975839"/>
            <ac:spMk id="12" creationId="{914DF80C-80A0-435E-94AF-2664A650F268}"/>
          </ac:spMkLst>
        </pc:spChg>
        <pc:spChg chg="mod">
          <ac:chgData name="GSVE (Gianluca Stivale)" userId="b2f3af48-7d3d-4911-89cc-4769d0faa1c3" providerId="ADAL" clId="{CD35869E-DFFE-423B-BFF1-4CB4A63AC94C}" dt="2022-02-18T12:23:40.864" v="1297" actId="20577"/>
          <ac:spMkLst>
            <pc:docMk/>
            <pc:sldMk cId="3944817199" sldId="2096975839"/>
            <ac:spMk id="15" creationId="{1F6E73B1-FB00-4A05-8BAE-66EBE03C85E3}"/>
          </ac:spMkLst>
        </pc:spChg>
        <pc:spChg chg="mod">
          <ac:chgData name="GSVE (Gianluca Stivale)" userId="b2f3af48-7d3d-4911-89cc-4769d0faa1c3" providerId="ADAL" clId="{CD35869E-DFFE-423B-BFF1-4CB4A63AC94C}" dt="2022-02-18T12:23:17.852" v="1296" actId="1037"/>
          <ac:spMkLst>
            <pc:docMk/>
            <pc:sldMk cId="3944817199" sldId="2096975839"/>
            <ac:spMk id="16" creationId="{EB087A68-72BC-4818-B1D7-FD8AF2AB6D94}"/>
          </ac:spMkLst>
        </pc:spChg>
      </pc:sldChg>
      <pc:sldChg chg="addSp modSp mod">
        <pc:chgData name="GSVE (Gianluca Stivale)" userId="b2f3af48-7d3d-4911-89cc-4769d0faa1c3" providerId="ADAL" clId="{CD35869E-DFFE-423B-BFF1-4CB4A63AC94C}" dt="2022-02-18T10:09:33.134" v="234" actId="1076"/>
        <pc:sldMkLst>
          <pc:docMk/>
          <pc:sldMk cId="1574421340" sldId="2096975846"/>
        </pc:sldMkLst>
        <pc:spChg chg="add mod">
          <ac:chgData name="GSVE (Gianluca Stivale)" userId="b2f3af48-7d3d-4911-89cc-4769d0faa1c3" providerId="ADAL" clId="{CD35869E-DFFE-423B-BFF1-4CB4A63AC94C}" dt="2022-02-18T10:09:33.134" v="234" actId="1076"/>
          <ac:spMkLst>
            <pc:docMk/>
            <pc:sldMk cId="1574421340" sldId="2096975846"/>
            <ac:spMk id="20" creationId="{C9780592-E55E-4FC3-8336-57EF70346D96}"/>
          </ac:spMkLst>
        </pc:spChg>
      </pc:sldChg>
      <pc:sldChg chg="addSp delSp modSp mod ord">
        <pc:chgData name="GSVE (Gianluca Stivale)" userId="b2f3af48-7d3d-4911-89cc-4769d0faa1c3" providerId="ADAL" clId="{CD35869E-DFFE-423B-BFF1-4CB4A63AC94C}" dt="2022-02-18T17:51:04.573" v="1694" actId="1035"/>
        <pc:sldMkLst>
          <pc:docMk/>
          <pc:sldMk cId="3273897114" sldId="2096975848"/>
        </pc:sldMkLst>
        <pc:spChg chg="mod">
          <ac:chgData name="GSVE (Gianluca Stivale)" userId="b2f3af48-7d3d-4911-89cc-4769d0faa1c3" providerId="ADAL" clId="{CD35869E-DFFE-423B-BFF1-4CB4A63AC94C}" dt="2022-02-18T17:51:04.573" v="1694" actId="1035"/>
          <ac:spMkLst>
            <pc:docMk/>
            <pc:sldMk cId="3273897114" sldId="2096975848"/>
            <ac:spMk id="10" creationId="{7654423A-BDE7-4D0E-A214-7ADCC4F52740}"/>
          </ac:spMkLst>
        </pc:spChg>
        <pc:spChg chg="add del mod">
          <ac:chgData name="GSVE (Gianluca Stivale)" userId="b2f3af48-7d3d-4911-89cc-4769d0faa1c3" providerId="ADAL" clId="{CD35869E-DFFE-423B-BFF1-4CB4A63AC94C}" dt="2022-02-18T10:09:38.297" v="235" actId="478"/>
          <ac:spMkLst>
            <pc:docMk/>
            <pc:sldMk cId="3273897114" sldId="2096975848"/>
            <ac:spMk id="34" creationId="{63A1A91A-7358-4920-A2DB-6E0EECAD8BB4}"/>
          </ac:spMkLst>
        </pc:spChg>
        <pc:spChg chg="add mod">
          <ac:chgData name="GSVE (Gianluca Stivale)" userId="b2f3af48-7d3d-4911-89cc-4769d0faa1c3" providerId="ADAL" clId="{CD35869E-DFFE-423B-BFF1-4CB4A63AC94C}" dt="2022-02-18T10:09:41.252" v="238" actId="20577"/>
          <ac:spMkLst>
            <pc:docMk/>
            <pc:sldMk cId="3273897114" sldId="2096975848"/>
            <ac:spMk id="36" creationId="{31916BA1-AE5B-47A9-B1BE-7AD1CD682ED8}"/>
          </ac:spMkLst>
        </pc:spChg>
      </pc:sldChg>
      <pc:sldChg chg="mod modShow">
        <pc:chgData name="GSVE (Gianluca Stivale)" userId="b2f3af48-7d3d-4911-89cc-4769d0faa1c3" providerId="ADAL" clId="{CD35869E-DFFE-423B-BFF1-4CB4A63AC94C}" dt="2022-02-11T13:16:47.843" v="210" actId="729"/>
        <pc:sldMkLst>
          <pc:docMk/>
          <pc:sldMk cId="3464929776" sldId="2134804820"/>
        </pc:sldMkLst>
      </pc:sldChg>
      <pc:sldChg chg="modSp">
        <pc:chgData name="GSVE (Gianluca Stivale)" userId="b2f3af48-7d3d-4911-89cc-4769d0faa1c3" providerId="ADAL" clId="{CD35869E-DFFE-423B-BFF1-4CB4A63AC94C}" dt="2022-03-07T14:33:40.075" v="1740" actId="20577"/>
        <pc:sldMkLst>
          <pc:docMk/>
          <pc:sldMk cId="490554044" sldId="2134959201"/>
        </pc:sldMkLst>
        <pc:spChg chg="mod">
          <ac:chgData name="GSVE (Gianluca Stivale)" userId="b2f3af48-7d3d-4911-89cc-4769d0faa1c3" providerId="ADAL" clId="{CD35869E-DFFE-423B-BFF1-4CB4A63AC94C}" dt="2022-03-07T14:33:40.075" v="1740" actId="20577"/>
          <ac:spMkLst>
            <pc:docMk/>
            <pc:sldMk cId="490554044" sldId="2134959201"/>
            <ac:spMk id="21" creationId="{1630ECF1-710F-4AA5-8CCF-26F1F0F2CC84}"/>
          </ac:spMkLst>
        </pc:spChg>
      </pc:sldChg>
      <pc:sldChg chg="modSp mod">
        <pc:chgData name="GSVE (Gianluca Stivale)" userId="b2f3af48-7d3d-4911-89cc-4769d0faa1c3" providerId="ADAL" clId="{CD35869E-DFFE-423B-BFF1-4CB4A63AC94C}" dt="2022-02-18T17:02:39.429" v="1668"/>
        <pc:sldMkLst>
          <pc:docMk/>
          <pc:sldMk cId="1484890116" sldId="2134959203"/>
        </pc:sldMkLst>
        <pc:spChg chg="mod">
          <ac:chgData name="GSVE (Gianluca Stivale)" userId="b2f3af48-7d3d-4911-89cc-4769d0faa1c3" providerId="ADAL" clId="{CD35869E-DFFE-423B-BFF1-4CB4A63AC94C}" dt="2022-02-18T17:02:31.601" v="1667"/>
          <ac:spMkLst>
            <pc:docMk/>
            <pc:sldMk cId="1484890116" sldId="2134959203"/>
            <ac:spMk id="33" creationId="{4C769706-0581-485D-8500-1056E296E965}"/>
          </ac:spMkLst>
        </pc:spChg>
        <pc:spChg chg="mod">
          <ac:chgData name="GSVE (Gianluca Stivale)" userId="b2f3af48-7d3d-4911-89cc-4769d0faa1c3" providerId="ADAL" clId="{CD35869E-DFFE-423B-BFF1-4CB4A63AC94C}" dt="2022-02-18T17:02:39.429" v="1668"/>
          <ac:spMkLst>
            <pc:docMk/>
            <pc:sldMk cId="1484890116" sldId="2134959203"/>
            <ac:spMk id="34" creationId="{70181331-BACB-4630-BF06-5650FC5E9C5F}"/>
          </ac:spMkLst>
        </pc:spChg>
      </pc:sldChg>
      <pc:sldChg chg="modSp mod modNotesTx">
        <pc:chgData name="GSVE (Gianluca Stivale)" userId="b2f3af48-7d3d-4911-89cc-4769d0faa1c3" providerId="ADAL" clId="{CD35869E-DFFE-423B-BFF1-4CB4A63AC94C}" dt="2022-03-14T09:49:20.281" v="1747" actId="20577"/>
        <pc:sldMkLst>
          <pc:docMk/>
          <pc:sldMk cId="1412886652" sldId="2134959211"/>
        </pc:sldMkLst>
        <pc:spChg chg="mod">
          <ac:chgData name="GSVE (Gianluca Stivale)" userId="b2f3af48-7d3d-4911-89cc-4769d0faa1c3" providerId="ADAL" clId="{CD35869E-DFFE-423B-BFF1-4CB4A63AC94C}" dt="2022-03-14T09:49:20.281" v="1747" actId="20577"/>
          <ac:spMkLst>
            <pc:docMk/>
            <pc:sldMk cId="1412886652" sldId="2134959211"/>
            <ac:spMk id="120" creationId="{A0FB239E-853B-4B97-90A2-1C89A883F5DF}"/>
          </ac:spMkLst>
        </pc:spChg>
      </pc:sldChg>
      <pc:sldChg chg="modSp mod">
        <pc:chgData name="GSVE (Gianluca Stivale)" userId="b2f3af48-7d3d-4911-89cc-4769d0faa1c3" providerId="ADAL" clId="{CD35869E-DFFE-423B-BFF1-4CB4A63AC94C}" dt="2022-02-23T19:01:10.973" v="1721" actId="1076"/>
        <pc:sldMkLst>
          <pc:docMk/>
          <pc:sldMk cId="982016053" sldId="2134959212"/>
        </pc:sldMkLst>
        <pc:spChg chg="mod">
          <ac:chgData name="GSVE (Gianluca Stivale)" userId="b2f3af48-7d3d-4911-89cc-4769d0faa1c3" providerId="ADAL" clId="{CD35869E-DFFE-423B-BFF1-4CB4A63AC94C}" dt="2022-02-23T19:01:10.973" v="1721" actId="1076"/>
          <ac:spMkLst>
            <pc:docMk/>
            <pc:sldMk cId="982016053" sldId="2134959212"/>
            <ac:spMk id="80" creationId="{A38E88E7-B80D-4D85-ADE6-90658B54ADAE}"/>
          </ac:spMkLst>
        </pc:spChg>
      </pc:sldChg>
      <pc:sldChg chg="addSp modSp mod modNotesTx">
        <pc:chgData name="GSVE (Gianluca Stivale)" userId="b2f3af48-7d3d-4911-89cc-4769d0faa1c3" providerId="ADAL" clId="{CD35869E-DFFE-423B-BFF1-4CB4A63AC94C}" dt="2022-02-23T18:38:52.447" v="1715" actId="403"/>
        <pc:sldMkLst>
          <pc:docMk/>
          <pc:sldMk cId="821810064" sldId="2134959213"/>
        </pc:sldMkLst>
        <pc:spChg chg="add mod">
          <ac:chgData name="GSVE (Gianluca Stivale)" userId="b2f3af48-7d3d-4911-89cc-4769d0faa1c3" providerId="ADAL" clId="{CD35869E-DFFE-423B-BFF1-4CB4A63AC94C}" dt="2022-02-23T18:38:52.447" v="1715" actId="403"/>
          <ac:spMkLst>
            <pc:docMk/>
            <pc:sldMk cId="821810064" sldId="2134959213"/>
            <ac:spMk id="7" creationId="{395DFEC9-650A-411D-B7EA-3C5B6F318CE0}"/>
          </ac:spMkLst>
        </pc:spChg>
        <pc:spChg chg="mod">
          <ac:chgData name="GSVE (Gianluca Stivale)" userId="b2f3af48-7d3d-4911-89cc-4769d0faa1c3" providerId="ADAL" clId="{CD35869E-DFFE-423B-BFF1-4CB4A63AC94C}" dt="2022-02-22T19:03:36.133" v="1701" actId="6549"/>
          <ac:spMkLst>
            <pc:docMk/>
            <pc:sldMk cId="821810064" sldId="2134959213"/>
            <ac:spMk id="19" creationId="{BD5749AC-FAF3-4C56-9643-2BE7081D0AAE}"/>
          </ac:spMkLst>
        </pc:spChg>
        <pc:spChg chg="mod">
          <ac:chgData name="GSVE (Gianluca Stivale)" userId="b2f3af48-7d3d-4911-89cc-4769d0faa1c3" providerId="ADAL" clId="{CD35869E-DFFE-423B-BFF1-4CB4A63AC94C}" dt="2022-02-18T10:54:58.898" v="500" actId="1076"/>
          <ac:spMkLst>
            <pc:docMk/>
            <pc:sldMk cId="821810064" sldId="2134959213"/>
            <ac:spMk id="23555" creationId="{00000000-0000-0000-0000-000000000000}"/>
          </ac:spMkLst>
        </pc:spChg>
        <pc:picChg chg="add mod">
          <ac:chgData name="GSVE (Gianluca Stivale)" userId="b2f3af48-7d3d-4911-89cc-4769d0faa1c3" providerId="ADAL" clId="{CD35869E-DFFE-423B-BFF1-4CB4A63AC94C}" dt="2022-02-18T10:54:49.309" v="499" actId="1037"/>
          <ac:picMkLst>
            <pc:docMk/>
            <pc:sldMk cId="821810064" sldId="2134959213"/>
            <ac:picMk id="8" creationId="{17AA5D71-79A9-49B7-A709-BC48BB03ADC6}"/>
          </ac:picMkLst>
        </pc:picChg>
        <pc:picChg chg="mod">
          <ac:chgData name="GSVE (Gianluca Stivale)" userId="b2f3af48-7d3d-4911-89cc-4769d0faa1c3" providerId="ADAL" clId="{CD35869E-DFFE-423B-BFF1-4CB4A63AC94C}" dt="2022-02-18T10:54:49.309" v="499" actId="1037"/>
          <ac:picMkLst>
            <pc:docMk/>
            <pc:sldMk cId="821810064" sldId="2134959213"/>
            <ac:picMk id="5122" creationId="{80329CBF-1F90-455B-80D4-1DD2D907BCF6}"/>
          </ac:picMkLst>
        </pc:picChg>
        <pc:picChg chg="mod">
          <ac:chgData name="GSVE (Gianluca Stivale)" userId="b2f3af48-7d3d-4911-89cc-4769d0faa1c3" providerId="ADAL" clId="{CD35869E-DFFE-423B-BFF1-4CB4A63AC94C}" dt="2022-02-18T10:54:49.309" v="499" actId="1037"/>
          <ac:picMkLst>
            <pc:docMk/>
            <pc:sldMk cId="821810064" sldId="2134959213"/>
            <ac:picMk id="5124" creationId="{28593A47-8709-44A0-8067-59185864D325}"/>
          </ac:picMkLst>
        </pc:picChg>
      </pc:sldChg>
      <pc:sldChg chg="addSp delSp modSp add mod delAnim modNotesTx">
        <pc:chgData name="GSVE (Gianluca Stivale)" userId="b2f3af48-7d3d-4911-89cc-4769d0faa1c3" providerId="ADAL" clId="{CD35869E-DFFE-423B-BFF1-4CB4A63AC94C}" dt="2022-02-18T13:21:11.065" v="1301" actId="403"/>
        <pc:sldMkLst>
          <pc:docMk/>
          <pc:sldMk cId="3031444949" sldId="2134959215"/>
        </pc:sldMkLst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0" creationId="{7654423A-BDE7-4D0E-A214-7ADCC4F52740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3" creationId="{49C9D4D4-7735-4610-8D9C-93DFA3CB6EFB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6" creationId="{AFD02F08-5604-4E97-9EB9-C6410277AE60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7" creationId="{A54B4229-4414-492E-82DD-464C842747F2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8" creationId="{D4908BA2-B575-4E07-AA8A-D3D89E053945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19" creationId="{5AD4BBC5-8E48-4F42-87F1-2A8A4CEC33CF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0" creationId="{0452AF92-4EB4-4079-923C-525EA0060441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1" creationId="{F0D4676C-04C7-406D-B381-BA58E5B91103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2" creationId="{F452DF16-0D59-4E71-995C-64E46162C44C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4" creationId="{C158A902-9B10-47A5-8878-383550AEC328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6" creationId="{BC3019D0-C899-46E9-AEFC-C97F30D86AE6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7" creationId="{C01FF6F2-330A-4639-B0DC-65966D3EF5C6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8" creationId="{50A47A00-7CE8-48E2-9D03-DD3F6872C894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29" creationId="{95D0AB2B-4DFB-4A8B-8310-C4A8DADFE9A1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0" creationId="{58FDE0E4-CF27-4D2E-98A2-D92C4C2E4A28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1" creationId="{C2A5AE0F-AF81-4905-B209-C00E66428055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2" creationId="{1C92B1EF-A947-43B3-AA01-021D07CA9C82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3" creationId="{6BD7F33F-D46F-4E5E-B236-54906A0CC162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5" creationId="{9927F917-EFA3-4D3B-AD2C-F5166B28D596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6" creationId="{31916BA1-AE5B-47A9-B1BE-7AD1CD682ED8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7" creationId="{B357F1A3-9650-4EE9-B4F9-D18E77F339A9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8" creationId="{ED9BF370-900E-4513-9134-7685D06F06D6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39" creationId="{5F562313-4627-4BFD-AFF0-C8A10E8F9CA3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0" creationId="{EFE7CCA3-F293-44D1-976D-5F8E24BB4B79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1" creationId="{7A415E4C-EE72-4D86-9D87-EC92B82FD581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2" creationId="{3CA010B1-2084-43EB-AE37-38C6E4847A84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3" creationId="{829B3B9D-D8AC-4F28-9024-4827695BAE3D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4" creationId="{DAA1C284-DD0B-40DC-AB1D-9E0302DAF774}"/>
          </ac:spMkLst>
        </pc:spChg>
        <pc:spChg chg="add mod">
          <ac:chgData name="GSVE (Gianluca Stivale)" userId="b2f3af48-7d3d-4911-89cc-4769d0faa1c3" providerId="ADAL" clId="{CD35869E-DFFE-423B-BFF1-4CB4A63AC94C}" dt="2022-02-18T13:21:11.065" v="1301" actId="403"/>
          <ac:spMkLst>
            <pc:docMk/>
            <pc:sldMk cId="3031444949" sldId="2134959215"/>
            <ac:spMk id="45" creationId="{7C36B2B3-F15E-4F3D-8531-146E36E57103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6" creationId="{43D08B6E-2400-41BC-8518-46942140EE40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8" creationId="{0B218923-5A6C-455C-A8D0-D830EF955958}"/>
          </ac:spMkLst>
        </pc:spChg>
        <pc:spChg chg="del">
          <ac:chgData name="GSVE (Gianluca Stivale)" userId="b2f3af48-7d3d-4911-89cc-4769d0faa1c3" providerId="ADAL" clId="{CD35869E-DFFE-423B-BFF1-4CB4A63AC94C}" dt="2022-02-18T11:08:47.519" v="1054" actId="478"/>
          <ac:spMkLst>
            <pc:docMk/>
            <pc:sldMk cId="3031444949" sldId="2134959215"/>
            <ac:spMk id="49" creationId="{548CDD80-79E6-42B5-B0BC-49DA2DD66991}"/>
          </ac:spMkLst>
        </pc:spChg>
        <pc:spChg chg="add mod">
          <ac:chgData name="GSVE (Gianluca Stivale)" userId="b2f3af48-7d3d-4911-89cc-4769d0faa1c3" providerId="ADAL" clId="{CD35869E-DFFE-423B-BFF1-4CB4A63AC94C}" dt="2022-02-18T13:20:59.544" v="1299" actId="207"/>
          <ac:spMkLst>
            <pc:docMk/>
            <pc:sldMk cId="3031444949" sldId="2134959215"/>
            <ac:spMk id="50" creationId="{A63A0085-B317-4B84-9613-6B82C6B0BE80}"/>
          </ac:spMkLst>
        </pc:spChg>
        <pc:spChg chg="add mod">
          <ac:chgData name="GSVE (Gianluca Stivale)" userId="b2f3af48-7d3d-4911-89cc-4769d0faa1c3" providerId="ADAL" clId="{CD35869E-DFFE-423B-BFF1-4CB4A63AC94C}" dt="2022-02-18T11:14:46.458" v="1206" actId="1076"/>
          <ac:spMkLst>
            <pc:docMk/>
            <pc:sldMk cId="3031444949" sldId="2134959215"/>
            <ac:spMk id="55" creationId="{1A29BD53-FC26-4C2D-A30E-0A50E8189996}"/>
          </ac:spMkLst>
        </pc:spChg>
        <pc:spChg chg="add mod">
          <ac:chgData name="GSVE (Gianluca Stivale)" userId="b2f3af48-7d3d-4911-89cc-4769d0faa1c3" providerId="ADAL" clId="{CD35869E-DFFE-423B-BFF1-4CB4A63AC94C}" dt="2022-02-18T11:14:50.475" v="1207" actId="1076"/>
          <ac:spMkLst>
            <pc:docMk/>
            <pc:sldMk cId="3031444949" sldId="2134959215"/>
            <ac:spMk id="56" creationId="{BBE2B28C-0FAD-4C89-A470-5F6BA018A74B}"/>
          </ac:spMkLst>
        </pc:spChg>
        <pc:picChg chg="del">
          <ac:chgData name="GSVE (Gianluca Stivale)" userId="b2f3af48-7d3d-4911-89cc-4769d0faa1c3" providerId="ADAL" clId="{CD35869E-DFFE-423B-BFF1-4CB4A63AC94C}" dt="2022-02-18T11:08:47.519" v="1054" actId="478"/>
          <ac:picMkLst>
            <pc:docMk/>
            <pc:sldMk cId="3031444949" sldId="2134959215"/>
            <ac:picMk id="7" creationId="{50875768-9B04-44D5-AAAB-DE1845CCB5A1}"/>
          </ac:picMkLst>
        </pc:picChg>
        <pc:picChg chg="add del mod">
          <ac:chgData name="GSVE (Gianluca Stivale)" userId="b2f3af48-7d3d-4911-89cc-4769d0faa1c3" providerId="ADAL" clId="{CD35869E-DFFE-423B-BFF1-4CB4A63AC94C}" dt="2022-02-18T11:13:13.919" v="1185"/>
          <ac:picMkLst>
            <pc:docMk/>
            <pc:sldMk cId="3031444949" sldId="2134959215"/>
            <ac:picMk id="51" creationId="{8B150C2B-D004-4EF3-849D-44BEE23C3E56}"/>
          </ac:picMkLst>
        </pc:picChg>
        <pc:picChg chg="add del mod">
          <ac:chgData name="GSVE (Gianluca Stivale)" userId="b2f3af48-7d3d-4911-89cc-4769d0faa1c3" providerId="ADAL" clId="{CD35869E-DFFE-423B-BFF1-4CB4A63AC94C}" dt="2022-02-18T11:13:13.919" v="1185"/>
          <ac:picMkLst>
            <pc:docMk/>
            <pc:sldMk cId="3031444949" sldId="2134959215"/>
            <ac:picMk id="52" creationId="{8A5BED18-F104-41D7-B57F-4A4DC6CF3349}"/>
          </ac:picMkLst>
        </pc:picChg>
        <pc:picChg chg="add mod">
          <ac:chgData name="GSVE (Gianluca Stivale)" userId="b2f3af48-7d3d-4911-89cc-4769d0faa1c3" providerId="ADAL" clId="{CD35869E-DFFE-423B-BFF1-4CB4A63AC94C}" dt="2022-02-18T11:15:04.593" v="1215" actId="1038"/>
          <ac:picMkLst>
            <pc:docMk/>
            <pc:sldMk cId="3031444949" sldId="2134959215"/>
            <ac:picMk id="53" creationId="{AA630077-AF19-48DA-AA1B-D23F1A7E1924}"/>
          </ac:picMkLst>
        </pc:picChg>
        <pc:picChg chg="add mod">
          <ac:chgData name="GSVE (Gianluca Stivale)" userId="b2f3af48-7d3d-4911-89cc-4769d0faa1c3" providerId="ADAL" clId="{CD35869E-DFFE-423B-BFF1-4CB4A63AC94C}" dt="2022-02-18T11:15:00.376" v="1209" actId="1076"/>
          <ac:picMkLst>
            <pc:docMk/>
            <pc:sldMk cId="3031444949" sldId="2134959215"/>
            <ac:picMk id="54" creationId="{FCF63789-72FA-4543-A3A5-F0CE9D09181E}"/>
          </ac:picMkLst>
        </pc:picChg>
        <pc:picChg chg="add mod">
          <ac:chgData name="GSVE (Gianluca Stivale)" userId="b2f3af48-7d3d-4911-89cc-4769d0faa1c3" providerId="ADAL" clId="{CD35869E-DFFE-423B-BFF1-4CB4A63AC94C}" dt="2022-02-18T11:15:12.523" v="1216" actId="1076"/>
          <ac:picMkLst>
            <pc:docMk/>
            <pc:sldMk cId="3031444949" sldId="2134959215"/>
            <ac:picMk id="1026" creationId="{AD99F0F6-2BC2-46C4-87E3-335AB8C527BC}"/>
          </ac:picMkLst>
        </pc:picChg>
      </pc:sldChg>
      <pc:sldChg chg="delSp new mod">
        <pc:chgData name="GSVE (Gianluca Stivale)" userId="b2f3af48-7d3d-4911-89cc-4769d0faa1c3" providerId="ADAL" clId="{CD35869E-DFFE-423B-BFF1-4CB4A63AC94C}" dt="2022-02-20T18:22:05.632" v="1696" actId="478"/>
        <pc:sldMkLst>
          <pc:docMk/>
          <pc:sldMk cId="1695881644" sldId="2134959216"/>
        </pc:sldMkLst>
        <pc:spChg chg="del">
          <ac:chgData name="GSVE (Gianluca Stivale)" userId="b2f3af48-7d3d-4911-89cc-4769d0faa1c3" providerId="ADAL" clId="{CD35869E-DFFE-423B-BFF1-4CB4A63AC94C}" dt="2022-02-20T18:22:05.632" v="1696" actId="478"/>
          <ac:spMkLst>
            <pc:docMk/>
            <pc:sldMk cId="1695881644" sldId="2134959216"/>
            <ac:spMk id="2" creationId="{E8C096F8-7F92-43AF-A6E7-4861F23B0D8B}"/>
          </ac:spMkLst>
        </pc:spChg>
        <pc:spChg chg="del">
          <ac:chgData name="GSVE (Gianluca Stivale)" userId="b2f3af48-7d3d-4911-89cc-4769d0faa1c3" providerId="ADAL" clId="{CD35869E-DFFE-423B-BFF1-4CB4A63AC94C}" dt="2022-02-20T18:22:05.632" v="1696" actId="478"/>
          <ac:spMkLst>
            <pc:docMk/>
            <pc:sldMk cId="1695881644" sldId="2134959216"/>
            <ac:spMk id="3" creationId="{D2005E73-D1BC-4C58-ABC7-3EA4D7C66BA6}"/>
          </ac:spMkLst>
        </pc:spChg>
        <pc:spChg chg="del">
          <ac:chgData name="GSVE (Gianluca Stivale)" userId="b2f3af48-7d3d-4911-89cc-4769d0faa1c3" providerId="ADAL" clId="{CD35869E-DFFE-423B-BFF1-4CB4A63AC94C}" dt="2022-02-20T18:22:05.632" v="1696" actId="478"/>
          <ac:spMkLst>
            <pc:docMk/>
            <pc:sldMk cId="1695881644" sldId="2134959216"/>
            <ac:spMk id="4" creationId="{00CECCAA-DCD7-4A03-BF2F-B4269804EA8B}"/>
          </ac:spMkLst>
        </pc:spChg>
        <pc:spChg chg="del">
          <ac:chgData name="GSVE (Gianluca Stivale)" userId="b2f3af48-7d3d-4911-89cc-4769d0faa1c3" providerId="ADAL" clId="{CD35869E-DFFE-423B-BFF1-4CB4A63AC94C}" dt="2022-02-20T18:22:05.632" v="1696" actId="478"/>
          <ac:spMkLst>
            <pc:docMk/>
            <pc:sldMk cId="1695881644" sldId="2134959216"/>
            <ac:spMk id="5" creationId="{B9C1EDAA-A6CA-4607-8D2E-135C3D0B0774}"/>
          </ac:spMkLst>
        </pc:spChg>
        <pc:spChg chg="del">
          <ac:chgData name="GSVE (Gianluca Stivale)" userId="b2f3af48-7d3d-4911-89cc-4769d0faa1c3" providerId="ADAL" clId="{CD35869E-DFFE-423B-BFF1-4CB4A63AC94C}" dt="2022-02-20T18:22:05.632" v="1696" actId="478"/>
          <ac:spMkLst>
            <pc:docMk/>
            <pc:sldMk cId="1695881644" sldId="2134959216"/>
            <ac:spMk id="6" creationId="{1A4FF27F-33F0-474C-9C92-3975A60440F7}"/>
          </ac:spMkLst>
        </pc:spChg>
      </pc:sldChg>
      <pc:sldChg chg="new del">
        <pc:chgData name="GSVE (Gianluca Stivale)" userId="b2f3af48-7d3d-4911-89cc-4769d0faa1c3" providerId="ADAL" clId="{CD35869E-DFFE-423B-BFF1-4CB4A63AC94C}" dt="2022-02-22T18:29:35.716" v="1698" actId="680"/>
        <pc:sldMkLst>
          <pc:docMk/>
          <pc:sldMk cId="3522712883" sldId="2134959217"/>
        </pc:sldMkLst>
      </pc:sldChg>
      <pc:sldChg chg="add">
        <pc:chgData name="GSVE (Gianluca Stivale)" userId="b2f3af48-7d3d-4911-89cc-4769d0faa1c3" providerId="ADAL" clId="{CD35869E-DFFE-423B-BFF1-4CB4A63AC94C}" dt="2022-02-23T19:00:54.189" v="1719"/>
        <pc:sldMkLst>
          <pc:docMk/>
          <pc:sldMk cId="3748330833" sldId="2134959217"/>
        </pc:sldMkLst>
      </pc:sldChg>
    </pc:docChg>
  </pc:docChgLst>
  <pc:docChgLst>
    <pc:chgData name="GSVE (Gianluca Stivale)" userId="b2f3af48-7d3d-4911-89cc-4769d0faa1c3" providerId="ADAL" clId="{631E617C-AD63-4DF0-9D50-4C02310B707B}"/>
    <pc:docChg chg="undo custSel addSld delSld modSld sldOrd">
      <pc:chgData name="GSVE (Gianluca Stivale)" userId="b2f3af48-7d3d-4911-89cc-4769d0faa1c3" providerId="ADAL" clId="{631E617C-AD63-4DF0-9D50-4C02310B707B}" dt="2022-01-07T17:08:42.489" v="198" actId="47"/>
      <pc:docMkLst>
        <pc:docMk/>
      </pc:docMkLst>
      <pc:sldChg chg="addSp modSp">
        <pc:chgData name="GSVE (Gianluca Stivale)" userId="b2f3af48-7d3d-4911-89cc-4769d0faa1c3" providerId="ADAL" clId="{631E617C-AD63-4DF0-9D50-4C02310B707B}" dt="2022-01-07T15:25:27.268" v="194"/>
        <pc:sldMkLst>
          <pc:docMk/>
          <pc:sldMk cId="3598511070" sldId="265"/>
        </pc:sldMkLst>
        <pc:spChg chg="add mod">
          <ac:chgData name="GSVE (Gianluca Stivale)" userId="b2f3af48-7d3d-4911-89cc-4769d0faa1c3" providerId="ADAL" clId="{631E617C-AD63-4DF0-9D50-4C02310B707B}" dt="2022-01-07T15:25:27.268" v="194"/>
          <ac:spMkLst>
            <pc:docMk/>
            <pc:sldMk cId="3598511070" sldId="265"/>
            <ac:spMk id="5" creationId="{5CAC8A39-1D19-4E4B-A40D-8475A6F9080A}"/>
          </ac:spMkLst>
        </pc:spChg>
      </pc:sldChg>
      <pc:sldChg chg="modSp mod">
        <pc:chgData name="GSVE (Gianluca Stivale)" userId="b2f3af48-7d3d-4911-89cc-4769d0faa1c3" providerId="ADAL" clId="{631E617C-AD63-4DF0-9D50-4C02310B707B}" dt="2022-01-05T18:48:18.569" v="51" actId="1076"/>
        <pc:sldMkLst>
          <pc:docMk/>
          <pc:sldMk cId="3648991668" sldId="273"/>
        </pc:sldMkLst>
        <pc:spChg chg="mod">
          <ac:chgData name="GSVE (Gianluca Stivale)" userId="b2f3af48-7d3d-4911-89cc-4769d0faa1c3" providerId="ADAL" clId="{631E617C-AD63-4DF0-9D50-4C02310B707B}" dt="2022-01-05T18:48:18.569" v="51" actId="1076"/>
          <ac:spMkLst>
            <pc:docMk/>
            <pc:sldMk cId="3648991668" sldId="273"/>
            <ac:spMk id="3" creationId="{00000000-0000-0000-0000-000000000000}"/>
          </ac:spMkLst>
        </pc:spChg>
      </pc:sldChg>
      <pc:sldChg chg="addSp modSp mod ord modShow">
        <pc:chgData name="GSVE (Gianluca Stivale)" userId="b2f3af48-7d3d-4911-89cc-4769d0faa1c3" providerId="ADAL" clId="{631E617C-AD63-4DF0-9D50-4C02310B707B}" dt="2022-01-07T11:21:45.435" v="157" actId="20577"/>
        <pc:sldMkLst>
          <pc:docMk/>
          <pc:sldMk cId="4241256939" sldId="298"/>
        </pc:sldMkLst>
        <pc:spChg chg="mod">
          <ac:chgData name="GSVE (Gianluca Stivale)" userId="b2f3af48-7d3d-4911-89cc-4769d0faa1c3" providerId="ADAL" clId="{631E617C-AD63-4DF0-9D50-4C02310B707B}" dt="2022-01-07T11:21:45.435" v="157" actId="20577"/>
          <ac:spMkLst>
            <pc:docMk/>
            <pc:sldMk cId="4241256939" sldId="298"/>
            <ac:spMk id="7" creationId="{00000000-0000-0000-0000-000000000000}"/>
          </ac:spMkLst>
        </pc:spChg>
        <pc:spChg chg="add mod">
          <ac:chgData name="GSVE (Gianluca Stivale)" userId="b2f3af48-7d3d-4911-89cc-4769d0faa1c3" providerId="ADAL" clId="{631E617C-AD63-4DF0-9D50-4C02310B707B}" dt="2022-01-07T11:21:43.815" v="155" actId="20577"/>
          <ac:spMkLst>
            <pc:docMk/>
            <pc:sldMk cId="4241256939" sldId="298"/>
            <ac:spMk id="142" creationId="{85629420-3A3B-4CFB-B5AD-BB9F9139E3B1}"/>
          </ac:spMkLst>
        </pc:spChg>
      </pc:sldChg>
      <pc:sldChg chg="delSp modSp mod ord">
        <pc:chgData name="GSVE (Gianluca Stivale)" userId="b2f3af48-7d3d-4911-89cc-4769d0faa1c3" providerId="ADAL" clId="{631E617C-AD63-4DF0-9D50-4C02310B707B}" dt="2022-01-05T18:48:24.190" v="52" actId="478"/>
        <pc:sldMkLst>
          <pc:docMk/>
          <pc:sldMk cId="3597582682" sldId="409"/>
        </pc:sldMkLst>
        <pc:spChg chg="mod">
          <ac:chgData name="GSVE (Gianluca Stivale)" userId="b2f3af48-7d3d-4911-89cc-4769d0faa1c3" providerId="ADAL" clId="{631E617C-AD63-4DF0-9D50-4C02310B707B}" dt="2022-01-05T18:48:09.738" v="42" actId="1076"/>
          <ac:spMkLst>
            <pc:docMk/>
            <pc:sldMk cId="3597582682" sldId="409"/>
            <ac:spMk id="5" creationId="{00000000-0000-0000-0000-000000000000}"/>
          </ac:spMkLst>
        </pc:spChg>
        <pc:spChg chg="del">
          <ac:chgData name="GSVE (Gianluca Stivale)" userId="b2f3af48-7d3d-4911-89cc-4769d0faa1c3" providerId="ADAL" clId="{631E617C-AD63-4DF0-9D50-4C02310B707B}" dt="2022-01-05T18:48:24.190" v="52" actId="478"/>
          <ac:spMkLst>
            <pc:docMk/>
            <pc:sldMk cId="3597582682" sldId="409"/>
            <ac:spMk id="12" creationId="{FED8D8F6-CE7C-40BE-87FF-08A50096D462}"/>
          </ac:spMkLst>
        </pc:spChg>
      </pc:sldChg>
      <pc:sldChg chg="add del">
        <pc:chgData name="GSVE (Gianluca Stivale)" userId="b2f3af48-7d3d-4911-89cc-4769d0faa1c3" providerId="ADAL" clId="{631E617C-AD63-4DF0-9D50-4C02310B707B}" dt="2022-01-07T15:25:51.708" v="195"/>
        <pc:sldMkLst>
          <pc:docMk/>
          <pc:sldMk cId="404904448" sldId="683"/>
        </pc:sldMkLst>
      </pc:sldChg>
      <pc:sldChg chg="ord">
        <pc:chgData name="GSVE (Gianluca Stivale)" userId="b2f3af48-7d3d-4911-89cc-4769d0faa1c3" providerId="ADAL" clId="{631E617C-AD63-4DF0-9D50-4C02310B707B}" dt="2022-01-05T18:48:28.387" v="54"/>
        <pc:sldMkLst>
          <pc:docMk/>
          <pc:sldMk cId="3730081749" sldId="796"/>
        </pc:sldMkLst>
      </pc:sldChg>
      <pc:sldChg chg="ord">
        <pc:chgData name="GSVE (Gianluca Stivale)" userId="b2f3af48-7d3d-4911-89cc-4769d0faa1c3" providerId="ADAL" clId="{631E617C-AD63-4DF0-9D50-4C02310B707B}" dt="2022-01-05T18:48:28.387" v="54"/>
        <pc:sldMkLst>
          <pc:docMk/>
          <pc:sldMk cId="3492171191" sldId="797"/>
        </pc:sldMkLst>
      </pc:sldChg>
      <pc:sldChg chg="addSp delSp modSp mod modAnim">
        <pc:chgData name="GSVE (Gianluca Stivale)" userId="b2f3af48-7d3d-4911-89cc-4769d0faa1c3" providerId="ADAL" clId="{631E617C-AD63-4DF0-9D50-4C02310B707B}" dt="2022-01-05T19:02:10.609" v="113"/>
        <pc:sldMkLst>
          <pc:docMk/>
          <pc:sldMk cId="2918337567" sldId="834"/>
        </pc:sldMkLst>
        <pc:spChg chg="del mod">
          <ac:chgData name="GSVE (Gianluca Stivale)" userId="b2f3af48-7d3d-4911-89cc-4769d0faa1c3" providerId="ADAL" clId="{631E617C-AD63-4DF0-9D50-4C02310B707B}" dt="2022-01-05T18:55:03.556" v="60" actId="478"/>
          <ac:spMkLst>
            <pc:docMk/>
            <pc:sldMk cId="2918337567" sldId="834"/>
            <ac:spMk id="44" creationId="{6249459D-459F-4976-8927-40BC13185A8D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54" creationId="{5CAAF273-EA51-4C8C-BBCD-A3612CF4E151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57" creationId="{F07BA546-BB23-45F6-A276-C68DB99A59E8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58" creationId="{9D1A4701-8CA6-4F49-92BD-FC312A88F7DC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59" creationId="{2AF259F5-D4E4-485E-9BDC-3E40618087C4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61" creationId="{B3F01531-8BE5-4B77-BC85-5162EEAC7067}"/>
          </ac:spMkLst>
        </pc:spChg>
        <pc:spChg chg="mod">
          <ac:chgData name="GSVE (Gianluca Stivale)" userId="b2f3af48-7d3d-4911-89cc-4769d0faa1c3" providerId="ADAL" clId="{631E617C-AD63-4DF0-9D50-4C02310B707B}" dt="2022-01-05T18:55:08.140" v="63" actId="404"/>
          <ac:spMkLst>
            <pc:docMk/>
            <pc:sldMk cId="2918337567" sldId="834"/>
            <ac:spMk id="62" creationId="{AF440706-70F8-46DE-BBAB-13526956B340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64" creationId="{B918ACE4-B722-4619-A1F7-C698E679AF60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66" creationId="{9F13AC80-46C1-4EDE-A328-D6B3CE84FF28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67" creationId="{FC33752C-C91B-4722-8964-732B40D2F67D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69" creationId="{0BE064F3-563A-4C8D-9E77-15D12826B31E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1" creationId="{3FC2A7DC-AC5A-4EE4-A3DA-EE590A950791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2" creationId="{394E4C02-98CE-4188-A859-7ABB92DAF203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4" creationId="{A190C69C-0D11-4E82-9243-FB86E072B815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6" creationId="{F262C02B-C598-4CE2-B5AE-F03A5946CA93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7" creationId="{CBD26073-F99D-4694-ABB6-D2DFBA41C4C5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79" creationId="{BB9B050B-BEBA-4DE6-BE88-A353DE4FBD1C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81" creationId="{B897531B-4054-477C-BE6A-3D29562CED73}"/>
          </ac:spMkLst>
        </pc:spChg>
        <pc:spChg chg="mod">
          <ac:chgData name="GSVE (Gianluca Stivale)" userId="b2f3af48-7d3d-4911-89cc-4769d0faa1c3" providerId="ADAL" clId="{631E617C-AD63-4DF0-9D50-4C02310B707B}" dt="2022-01-05T18:56:47.889" v="78" actId="404"/>
          <ac:spMkLst>
            <pc:docMk/>
            <pc:sldMk cId="2918337567" sldId="834"/>
            <ac:spMk id="82" creationId="{1389BAD0-05BD-4722-B2DC-AFFB260E9E48}"/>
          </ac:spMkLst>
        </pc:spChg>
        <pc:grpChg chg="add mod">
          <ac:chgData name="GSVE (Gianluca Stivale)" userId="b2f3af48-7d3d-4911-89cc-4769d0faa1c3" providerId="ADAL" clId="{631E617C-AD63-4DF0-9D50-4C02310B707B}" dt="2022-01-05T18:58:26.572" v="88" actId="1076"/>
          <ac:grpSpMkLst>
            <pc:docMk/>
            <pc:sldMk cId="2918337567" sldId="834"/>
            <ac:grpSpMk id="43" creationId="{BFA7F829-154E-48F3-9B6E-AB7B8D4102EE}"/>
          </ac:grpSpMkLst>
        </pc:grpChg>
        <pc:grpChg chg="mod">
          <ac:chgData name="GSVE (Gianluca Stivale)" userId="b2f3af48-7d3d-4911-89cc-4769d0faa1c3" providerId="ADAL" clId="{631E617C-AD63-4DF0-9D50-4C02310B707B}" dt="2022-01-05T18:55:00.877" v="59"/>
          <ac:grpSpMkLst>
            <pc:docMk/>
            <pc:sldMk cId="2918337567" sldId="834"/>
            <ac:grpSpMk id="45" creationId="{FF23BD74-3D30-4E2D-B592-D440F6B5DC81}"/>
          </ac:grpSpMkLst>
        </pc:grpChg>
        <pc:grpChg chg="mod">
          <ac:chgData name="GSVE (Gianluca Stivale)" userId="b2f3af48-7d3d-4911-89cc-4769d0faa1c3" providerId="ADAL" clId="{631E617C-AD63-4DF0-9D50-4C02310B707B}" dt="2022-01-05T18:55:00.877" v="59"/>
          <ac:grpSpMkLst>
            <pc:docMk/>
            <pc:sldMk cId="2918337567" sldId="834"/>
            <ac:grpSpMk id="49" creationId="{341ED32D-B5FC-4AA5-8B15-0B941C22DAAC}"/>
          </ac:grpSpMkLst>
        </pc:grpChg>
        <pc:grpChg chg="mod">
          <ac:chgData name="GSVE (Gianluca Stivale)" userId="b2f3af48-7d3d-4911-89cc-4769d0faa1c3" providerId="ADAL" clId="{631E617C-AD63-4DF0-9D50-4C02310B707B}" dt="2022-01-05T18:55:00.877" v="59"/>
          <ac:grpSpMkLst>
            <pc:docMk/>
            <pc:sldMk cId="2918337567" sldId="834"/>
            <ac:grpSpMk id="56" creationId="{B77D94A2-4A1E-4A1A-9DDC-240A17774411}"/>
          </ac:grpSpMkLst>
        </pc:grpChg>
        <pc:grpChg chg="mod">
          <ac:chgData name="GSVE (Gianluca Stivale)" userId="b2f3af48-7d3d-4911-89cc-4769d0faa1c3" providerId="ADAL" clId="{631E617C-AD63-4DF0-9D50-4C02310B707B}" dt="2022-01-05T18:55:00.877" v="59"/>
          <ac:grpSpMkLst>
            <pc:docMk/>
            <pc:sldMk cId="2918337567" sldId="834"/>
            <ac:grpSpMk id="60" creationId="{73385EE9-8834-40AD-B59A-52693164F67A}"/>
          </ac:grpSpMkLst>
        </pc:grpChg>
        <pc:grpChg chg="add mod">
          <ac:chgData name="GSVE (Gianluca Stivale)" userId="b2f3af48-7d3d-4911-89cc-4769d0faa1c3" providerId="ADAL" clId="{631E617C-AD63-4DF0-9D50-4C02310B707B}" dt="2022-01-05T19:00:29.871" v="111" actId="1036"/>
          <ac:grpSpMkLst>
            <pc:docMk/>
            <pc:sldMk cId="2918337567" sldId="834"/>
            <ac:grpSpMk id="63" creationId="{3B9FD838-B6CE-4415-BAA2-7380ECB22324}"/>
          </ac:grpSpMkLst>
        </pc:grpChg>
        <pc:grpChg chg="mod">
          <ac:chgData name="GSVE (Gianluca Stivale)" userId="b2f3af48-7d3d-4911-89cc-4769d0faa1c3" providerId="ADAL" clId="{631E617C-AD63-4DF0-9D50-4C02310B707B}" dt="2022-01-05T18:56:17.925" v="71"/>
          <ac:grpSpMkLst>
            <pc:docMk/>
            <pc:sldMk cId="2918337567" sldId="834"/>
            <ac:grpSpMk id="65" creationId="{8CE39431-3990-4D1D-A049-BE02169A096E}"/>
          </ac:grpSpMkLst>
        </pc:grpChg>
        <pc:grpChg chg="add mod">
          <ac:chgData name="GSVE (Gianluca Stivale)" userId="b2f3af48-7d3d-4911-89cc-4769d0faa1c3" providerId="ADAL" clId="{631E617C-AD63-4DF0-9D50-4C02310B707B}" dt="2022-01-05T19:00:29.871" v="111" actId="1036"/>
          <ac:grpSpMkLst>
            <pc:docMk/>
            <pc:sldMk cId="2918337567" sldId="834"/>
            <ac:grpSpMk id="68" creationId="{0CEF82E8-A791-4796-B635-026037856C6B}"/>
          </ac:grpSpMkLst>
        </pc:grpChg>
        <pc:grpChg chg="mod">
          <ac:chgData name="GSVE (Gianluca Stivale)" userId="b2f3af48-7d3d-4911-89cc-4769d0faa1c3" providerId="ADAL" clId="{631E617C-AD63-4DF0-9D50-4C02310B707B}" dt="2022-01-05T18:56:17.925" v="71"/>
          <ac:grpSpMkLst>
            <pc:docMk/>
            <pc:sldMk cId="2918337567" sldId="834"/>
            <ac:grpSpMk id="70" creationId="{AC298B57-223B-44C3-9BA4-A9F967C03746}"/>
          </ac:grpSpMkLst>
        </pc:grpChg>
        <pc:grpChg chg="add mod">
          <ac:chgData name="GSVE (Gianluca Stivale)" userId="b2f3af48-7d3d-4911-89cc-4769d0faa1c3" providerId="ADAL" clId="{631E617C-AD63-4DF0-9D50-4C02310B707B}" dt="2022-01-05T19:00:29.871" v="111" actId="1036"/>
          <ac:grpSpMkLst>
            <pc:docMk/>
            <pc:sldMk cId="2918337567" sldId="834"/>
            <ac:grpSpMk id="73" creationId="{9E4480CA-93E6-403E-9015-5E48EEA91513}"/>
          </ac:grpSpMkLst>
        </pc:grpChg>
        <pc:grpChg chg="mod">
          <ac:chgData name="GSVE (Gianluca Stivale)" userId="b2f3af48-7d3d-4911-89cc-4769d0faa1c3" providerId="ADAL" clId="{631E617C-AD63-4DF0-9D50-4C02310B707B}" dt="2022-01-05T18:56:17.925" v="71"/>
          <ac:grpSpMkLst>
            <pc:docMk/>
            <pc:sldMk cId="2918337567" sldId="834"/>
            <ac:grpSpMk id="75" creationId="{7E2AD386-984E-4789-88EC-A62F28009EB3}"/>
          </ac:grpSpMkLst>
        </pc:grpChg>
        <pc:grpChg chg="add mod">
          <ac:chgData name="GSVE (Gianluca Stivale)" userId="b2f3af48-7d3d-4911-89cc-4769d0faa1c3" providerId="ADAL" clId="{631E617C-AD63-4DF0-9D50-4C02310B707B}" dt="2022-01-05T19:00:29.871" v="111" actId="1036"/>
          <ac:grpSpMkLst>
            <pc:docMk/>
            <pc:sldMk cId="2918337567" sldId="834"/>
            <ac:grpSpMk id="78" creationId="{D7A9C76A-E4C4-4AED-97B2-AE78CC4F4236}"/>
          </ac:grpSpMkLst>
        </pc:grpChg>
        <pc:grpChg chg="mod">
          <ac:chgData name="GSVE (Gianluca Stivale)" userId="b2f3af48-7d3d-4911-89cc-4769d0faa1c3" providerId="ADAL" clId="{631E617C-AD63-4DF0-9D50-4C02310B707B}" dt="2022-01-05T18:56:17.925" v="71"/>
          <ac:grpSpMkLst>
            <pc:docMk/>
            <pc:sldMk cId="2918337567" sldId="834"/>
            <ac:grpSpMk id="80" creationId="{F383983F-0B23-4698-934A-A819D0BBAE17}"/>
          </ac:grpSpMkLst>
        </pc:grpChg>
        <pc:graphicFrameChg chg="mod">
          <ac:chgData name="GSVE (Gianluca Stivale)" userId="b2f3af48-7d3d-4911-89cc-4769d0faa1c3" providerId="ADAL" clId="{631E617C-AD63-4DF0-9D50-4C02310B707B}" dt="2022-01-05T18:56:39.431" v="73"/>
          <ac:graphicFrameMkLst>
            <pc:docMk/>
            <pc:sldMk cId="2918337567" sldId="834"/>
            <ac:graphicFrameMk id="24" creationId="{00000000-0000-0000-0000-000000000000}"/>
          </ac:graphicFrameMkLst>
        </pc:graphicFrameChg>
        <pc:cxnChg chg="add mod">
          <ac:chgData name="GSVE (Gianluca Stivale)" userId="b2f3af48-7d3d-4911-89cc-4769d0faa1c3" providerId="ADAL" clId="{631E617C-AD63-4DF0-9D50-4C02310B707B}" dt="2022-01-05T18:42:40.684" v="22" actId="208"/>
          <ac:cxnSpMkLst>
            <pc:docMk/>
            <pc:sldMk cId="2918337567" sldId="834"/>
            <ac:cxnSpMk id="3" creationId="{2EEF8D08-C6D8-4135-A41F-451145998916}"/>
          </ac:cxnSpMkLst>
        </pc:cxnChg>
        <pc:cxnChg chg="add mod">
          <ac:chgData name="GSVE (Gianluca Stivale)" userId="b2f3af48-7d3d-4911-89cc-4769d0faa1c3" providerId="ADAL" clId="{631E617C-AD63-4DF0-9D50-4C02310B707B}" dt="2022-01-05T18:42:40.684" v="22" actId="208"/>
          <ac:cxnSpMkLst>
            <pc:docMk/>
            <pc:sldMk cId="2918337567" sldId="834"/>
            <ac:cxnSpMk id="29" creationId="{2383F534-9643-4534-A252-4AB7D1501ED2}"/>
          </ac:cxnSpMkLst>
        </pc:cxnChg>
        <pc:cxnChg chg="add del mod">
          <ac:chgData name="GSVE (Gianluca Stivale)" userId="b2f3af48-7d3d-4911-89cc-4769d0faa1c3" providerId="ADAL" clId="{631E617C-AD63-4DF0-9D50-4C02310B707B}" dt="2022-01-05T18:42:40.684" v="22" actId="208"/>
          <ac:cxnSpMkLst>
            <pc:docMk/>
            <pc:sldMk cId="2918337567" sldId="834"/>
            <ac:cxnSpMk id="33" creationId="{E5FAF8A2-AA75-4023-A506-1B3CAA16F189}"/>
          </ac:cxnSpMkLst>
        </pc:cxnChg>
        <pc:cxnChg chg="add mod">
          <ac:chgData name="GSVE (Gianluca Stivale)" userId="b2f3af48-7d3d-4911-89cc-4769d0faa1c3" providerId="ADAL" clId="{631E617C-AD63-4DF0-9D50-4C02310B707B}" dt="2022-01-05T18:59:58.133" v="103" actId="1076"/>
          <ac:cxnSpMkLst>
            <pc:docMk/>
            <pc:sldMk cId="2918337567" sldId="834"/>
            <ac:cxnSpMk id="35" creationId="{780EFD94-43EC-401B-8271-10C0443BB2C4}"/>
          </ac:cxnSpMkLst>
        </pc:cxnChg>
        <pc:cxnChg chg="add mod">
          <ac:chgData name="GSVE (Gianluca Stivale)" userId="b2f3af48-7d3d-4911-89cc-4769d0faa1c3" providerId="ADAL" clId="{631E617C-AD63-4DF0-9D50-4C02310B707B}" dt="2022-01-05T18:59:58.133" v="103" actId="1076"/>
          <ac:cxnSpMkLst>
            <pc:docMk/>
            <pc:sldMk cId="2918337567" sldId="834"/>
            <ac:cxnSpMk id="41" creationId="{076E57B6-C8F7-4335-A2B4-86857FF44125}"/>
          </ac:cxnSpMkLst>
        </pc:cxnChg>
        <pc:cxnChg chg="add mod">
          <ac:chgData name="GSVE (Gianluca Stivale)" userId="b2f3af48-7d3d-4911-89cc-4769d0faa1c3" providerId="ADAL" clId="{631E617C-AD63-4DF0-9D50-4C02310B707B}" dt="2022-01-05T18:43:13.001" v="27" actId="14100"/>
          <ac:cxnSpMkLst>
            <pc:docMk/>
            <pc:sldMk cId="2918337567" sldId="834"/>
            <ac:cxnSpMk id="42" creationId="{BCCD6BF8-5530-4277-9A23-917E4B0B3C16}"/>
          </ac:cxnSpMkLst>
        </pc:cxnChg>
      </pc:sldChg>
      <pc:sldChg chg="modSp mod">
        <pc:chgData name="GSVE (Gianluca Stivale)" userId="b2f3af48-7d3d-4911-89cc-4769d0faa1c3" providerId="ADAL" clId="{631E617C-AD63-4DF0-9D50-4C02310B707B}" dt="2022-01-05T18:56:08.299" v="70" actId="1076"/>
        <pc:sldMkLst>
          <pc:docMk/>
          <pc:sldMk cId="2728465127" sldId="2096975502"/>
        </pc:sldMkLst>
        <pc:spChg chg="mod">
          <ac:chgData name="GSVE (Gianluca Stivale)" userId="b2f3af48-7d3d-4911-89cc-4769d0faa1c3" providerId="ADAL" clId="{631E617C-AD63-4DF0-9D50-4C02310B707B}" dt="2022-01-05T18:56:08.299" v="70" actId="1076"/>
          <ac:spMkLst>
            <pc:docMk/>
            <pc:sldMk cId="2728465127" sldId="2096975502"/>
            <ac:spMk id="3" creationId="{3871F245-4181-44A6-BF86-71EF09C67E87}"/>
          </ac:spMkLst>
        </pc:spChg>
      </pc:sldChg>
      <pc:sldChg chg="del">
        <pc:chgData name="GSVE (Gianluca Stivale)" userId="b2f3af48-7d3d-4911-89cc-4769d0faa1c3" providerId="ADAL" clId="{631E617C-AD63-4DF0-9D50-4C02310B707B}" dt="2022-01-07T13:41:09.391" v="173" actId="47"/>
        <pc:sldMkLst>
          <pc:docMk/>
          <pc:sldMk cId="4147621238" sldId="2096975694"/>
        </pc:sldMkLst>
      </pc:sldChg>
      <pc:sldChg chg="mod ord modShow">
        <pc:chgData name="GSVE (Gianluca Stivale)" userId="b2f3af48-7d3d-4911-89cc-4769d0faa1c3" providerId="ADAL" clId="{631E617C-AD63-4DF0-9D50-4C02310B707B}" dt="2022-01-05T19:34:54.337" v="118" actId="729"/>
        <pc:sldMkLst>
          <pc:docMk/>
          <pc:sldMk cId="2561475876" sldId="2096975851"/>
        </pc:sldMkLst>
      </pc:sldChg>
      <pc:sldChg chg="addSp modSp mod ord">
        <pc:chgData name="GSVE (Gianluca Stivale)" userId="b2f3af48-7d3d-4911-89cc-4769d0faa1c3" providerId="ADAL" clId="{631E617C-AD63-4DF0-9D50-4C02310B707B}" dt="2022-01-07T13:42:01.145" v="193" actId="20577"/>
        <pc:sldMkLst>
          <pc:docMk/>
          <pc:sldMk cId="2123215901" sldId="2096975862"/>
        </pc:sldMkLst>
        <pc:spChg chg="mod">
          <ac:chgData name="GSVE (Gianluca Stivale)" userId="b2f3af48-7d3d-4911-89cc-4769d0faa1c3" providerId="ADAL" clId="{631E617C-AD63-4DF0-9D50-4C02310B707B}" dt="2022-01-07T13:42:01.145" v="193" actId="20577"/>
          <ac:spMkLst>
            <pc:docMk/>
            <pc:sldMk cId="2123215901" sldId="2096975862"/>
            <ac:spMk id="4" creationId="{AA174566-7E0E-45A2-BD5E-941DA8CC9851}"/>
          </ac:spMkLst>
        </pc:spChg>
        <pc:spChg chg="add mod">
          <ac:chgData name="GSVE (Gianluca Stivale)" userId="b2f3af48-7d3d-4911-89cc-4769d0faa1c3" providerId="ADAL" clId="{631E617C-AD63-4DF0-9D50-4C02310B707B}" dt="2022-01-07T13:41:31.384" v="174"/>
          <ac:spMkLst>
            <pc:docMk/>
            <pc:sldMk cId="2123215901" sldId="2096975862"/>
            <ac:spMk id="6" creationId="{E04A248A-E1B6-41C4-9424-36CCB69DC3FC}"/>
          </ac:spMkLst>
        </pc:spChg>
      </pc:sldChg>
      <pc:sldChg chg="add del">
        <pc:chgData name="GSVE (Gianluca Stivale)" userId="b2f3af48-7d3d-4911-89cc-4769d0faa1c3" providerId="ADAL" clId="{631E617C-AD63-4DF0-9D50-4C02310B707B}" dt="2022-01-07T17:08:40.500" v="197"/>
        <pc:sldMkLst>
          <pc:docMk/>
          <pc:sldMk cId="2678655462" sldId="2096975864"/>
        </pc:sldMkLst>
      </pc:sldChg>
      <pc:sldChg chg="del">
        <pc:chgData name="GSVE (Gianluca Stivale)" userId="b2f3af48-7d3d-4911-89cc-4769d0faa1c3" providerId="ADAL" clId="{631E617C-AD63-4DF0-9D50-4C02310B707B}" dt="2022-01-07T11:33:33.229" v="161" actId="47"/>
        <pc:sldMkLst>
          <pc:docMk/>
          <pc:sldMk cId="734848381" sldId="2134804948"/>
        </pc:sldMkLst>
      </pc:sldChg>
      <pc:sldChg chg="addSp delSp modSp mod">
        <pc:chgData name="GSVE (Gianluca Stivale)" userId="b2f3af48-7d3d-4911-89cc-4769d0faa1c3" providerId="ADAL" clId="{631E617C-AD63-4DF0-9D50-4C02310B707B}" dt="2022-01-07T11:21:49.177" v="159" actId="6549"/>
        <pc:sldMkLst>
          <pc:docMk/>
          <pc:sldMk cId="1697228837" sldId="2134804962"/>
        </pc:sldMkLst>
        <pc:spChg chg="add mod">
          <ac:chgData name="GSVE (Gianluca Stivale)" userId="b2f3af48-7d3d-4911-89cc-4769d0faa1c3" providerId="ADAL" clId="{631E617C-AD63-4DF0-9D50-4C02310B707B}" dt="2022-01-07T11:21:49.177" v="159" actId="6549"/>
          <ac:spMkLst>
            <pc:docMk/>
            <pc:sldMk cId="1697228837" sldId="2134804962"/>
            <ac:spMk id="6" creationId="{6C1BF433-22DE-42CE-B06F-187B6D3D1A7A}"/>
          </ac:spMkLst>
        </pc:spChg>
        <pc:spChg chg="del">
          <ac:chgData name="GSVE (Gianluca Stivale)" userId="b2f3af48-7d3d-4911-89cc-4769d0faa1c3" providerId="ADAL" clId="{631E617C-AD63-4DF0-9D50-4C02310B707B}" dt="2022-01-07T11:21:29.238" v="144" actId="478"/>
          <ac:spMkLst>
            <pc:docMk/>
            <pc:sldMk cId="1697228837" sldId="2134804962"/>
            <ac:spMk id="38" creationId="{00000000-0000-0000-0000-000000000000}"/>
          </ac:spMkLst>
        </pc:spChg>
      </pc:sldChg>
      <pc:sldChg chg="modNotesTx">
        <pc:chgData name="GSVE (Gianluca Stivale)" userId="b2f3af48-7d3d-4911-89cc-4769d0faa1c3" providerId="ADAL" clId="{631E617C-AD63-4DF0-9D50-4C02310B707B}" dt="2022-01-07T11:20:55.304" v="140" actId="5793"/>
        <pc:sldMkLst>
          <pc:docMk/>
          <pc:sldMk cId="3891720261" sldId="2134959164"/>
        </pc:sldMkLst>
      </pc:sldChg>
      <pc:sldChg chg="ord">
        <pc:chgData name="GSVE (Gianluca Stivale)" userId="b2f3af48-7d3d-4911-89cc-4769d0faa1c3" providerId="ADAL" clId="{631E617C-AD63-4DF0-9D50-4C02310B707B}" dt="2022-01-05T18:50:25.894" v="58"/>
        <pc:sldMkLst>
          <pc:docMk/>
          <pc:sldMk cId="111925570" sldId="2134959165"/>
        </pc:sldMkLst>
      </pc:sldChg>
      <pc:sldChg chg="del">
        <pc:chgData name="GSVE (Gianluca Stivale)" userId="b2f3af48-7d3d-4911-89cc-4769d0faa1c3" providerId="ADAL" clId="{631E617C-AD63-4DF0-9D50-4C02310B707B}" dt="2022-01-07T10:47:48.638" v="120" actId="47"/>
        <pc:sldMkLst>
          <pc:docMk/>
          <pc:sldMk cId="2142938793" sldId="2134959170"/>
        </pc:sldMkLst>
      </pc:sldChg>
      <pc:sldChg chg="add del">
        <pc:chgData name="GSVE (Gianluca Stivale)" userId="b2f3af48-7d3d-4911-89cc-4769d0faa1c3" providerId="ADAL" clId="{631E617C-AD63-4DF0-9D50-4C02310B707B}" dt="2022-01-07T17:08:42.489" v="198" actId="47"/>
        <pc:sldMkLst>
          <pc:docMk/>
          <pc:sldMk cId="624467967" sldId="2134959171"/>
        </pc:sldMkLst>
      </pc:sldChg>
      <pc:sldChg chg="addSp modSp mod modAnim">
        <pc:chgData name="GSVE (Gianluca Stivale)" userId="b2f3af48-7d3d-4911-89cc-4769d0faa1c3" providerId="ADAL" clId="{631E617C-AD63-4DF0-9D50-4C02310B707B}" dt="2022-01-07T11:12:56.004" v="138"/>
        <pc:sldMkLst>
          <pc:docMk/>
          <pc:sldMk cId="879423868" sldId="2134959174"/>
        </pc:sldMkLst>
        <pc:spChg chg="add mod">
          <ac:chgData name="GSVE (Gianluca Stivale)" userId="b2f3af48-7d3d-4911-89cc-4769d0faa1c3" providerId="ADAL" clId="{631E617C-AD63-4DF0-9D50-4C02310B707B}" dt="2022-01-07T11:12:26.631" v="131" actId="14100"/>
          <ac:spMkLst>
            <pc:docMk/>
            <pc:sldMk cId="879423868" sldId="2134959174"/>
            <ac:spMk id="36" creationId="{AA7CA102-304B-4A3A-A866-F215861BB66D}"/>
          </ac:spMkLst>
        </pc:spChg>
        <pc:picChg chg="add mod">
          <ac:chgData name="GSVE (Gianluca Stivale)" userId="b2f3af48-7d3d-4911-89cc-4769d0faa1c3" providerId="ADAL" clId="{631E617C-AD63-4DF0-9D50-4C02310B707B}" dt="2022-01-07T11:12:34.569" v="134" actId="1076"/>
          <ac:picMkLst>
            <pc:docMk/>
            <pc:sldMk cId="879423868" sldId="2134959174"/>
            <ac:picMk id="37" creationId="{49BE6A70-3E56-4090-92E7-E37DF9076133}"/>
          </ac:picMkLst>
        </pc:picChg>
      </pc:sldChg>
      <pc:sldChg chg="add">
        <pc:chgData name="GSVE (Gianluca Stivale)" userId="b2f3af48-7d3d-4911-89cc-4769d0faa1c3" providerId="ADAL" clId="{631E617C-AD63-4DF0-9D50-4C02310B707B}" dt="2022-01-07T10:47:47.435" v="119"/>
        <pc:sldMkLst>
          <pc:docMk/>
          <pc:sldMk cId="3372202560" sldId="2134959176"/>
        </pc:sldMkLst>
      </pc:sldChg>
      <pc:sldChg chg="addSp modSp add">
        <pc:chgData name="GSVE (Gianluca Stivale)" userId="b2f3af48-7d3d-4911-89cc-4769d0faa1c3" providerId="ADAL" clId="{631E617C-AD63-4DF0-9D50-4C02310B707B}" dt="2022-01-07T13:25:17.270" v="171"/>
        <pc:sldMkLst>
          <pc:docMk/>
          <pc:sldMk cId="2736193517" sldId="2134959177"/>
        </pc:sldMkLst>
        <pc:spChg chg="add mod">
          <ac:chgData name="GSVE (Gianluca Stivale)" userId="b2f3af48-7d3d-4911-89cc-4769d0faa1c3" providerId="ADAL" clId="{631E617C-AD63-4DF0-9D50-4C02310B707B}" dt="2022-01-07T13:12:10.587" v="169" actId="1076"/>
          <ac:spMkLst>
            <pc:docMk/>
            <pc:sldMk cId="2736193517" sldId="2134959177"/>
            <ac:spMk id="7" creationId="{06AD6E09-4F88-4187-8C98-30889AFFB241}"/>
          </ac:spMkLst>
        </pc:spChg>
        <pc:spChg chg="add mod">
          <ac:chgData name="GSVE (Gianluca Stivale)" userId="b2f3af48-7d3d-4911-89cc-4769d0faa1c3" providerId="ADAL" clId="{631E617C-AD63-4DF0-9D50-4C02310B707B}" dt="2022-01-07T13:25:17.270" v="171"/>
          <ac:spMkLst>
            <pc:docMk/>
            <pc:sldMk cId="2736193517" sldId="2134959177"/>
            <ac:spMk id="9" creationId="{E88CC3FA-6C09-4328-9F5D-F952F120F2A1}"/>
          </ac:spMkLst>
        </pc:spChg>
        <pc:picChg chg="add mod">
          <ac:chgData name="GSVE (Gianluca Stivale)" userId="b2f3af48-7d3d-4911-89cc-4769d0faa1c3" providerId="ADAL" clId="{631E617C-AD63-4DF0-9D50-4C02310B707B}" dt="2022-01-07T13:12:15.812" v="170" actId="1076"/>
          <ac:picMkLst>
            <pc:docMk/>
            <pc:sldMk cId="2736193517" sldId="2134959177"/>
            <ac:picMk id="8" creationId="{5BAD5461-5333-46B1-AEFE-F663378B41DA}"/>
          </ac:picMkLst>
        </pc:picChg>
      </pc:sldChg>
      <pc:sldChg chg="add del modAnim">
        <pc:chgData name="GSVE (Gianluca Stivale)" userId="b2f3af48-7d3d-4911-89cc-4769d0faa1c3" providerId="ADAL" clId="{631E617C-AD63-4DF0-9D50-4C02310B707B}" dt="2022-01-07T15:25:52.776" v="196" actId="47"/>
        <pc:sldMkLst>
          <pc:docMk/>
          <pc:sldMk cId="318698203" sldId="2134959178"/>
        </pc:sldMkLst>
      </pc:sldChg>
      <pc:sldChg chg="add">
        <pc:chgData name="GSVE (Gianluca Stivale)" userId="b2f3af48-7d3d-4911-89cc-4769d0faa1c3" providerId="ADAL" clId="{631E617C-AD63-4DF0-9D50-4C02310B707B}" dt="2022-01-07T11:33:32.197" v="160"/>
        <pc:sldMkLst>
          <pc:docMk/>
          <pc:sldMk cId="4164796302" sldId="2134959179"/>
        </pc:sldMkLst>
      </pc:sldChg>
      <pc:sldChg chg="add">
        <pc:chgData name="GSVE (Gianluca Stivale)" userId="b2f3af48-7d3d-4911-89cc-4769d0faa1c3" providerId="ADAL" clId="{631E617C-AD63-4DF0-9D50-4C02310B707B}" dt="2022-01-07T13:41:08.001" v="172"/>
        <pc:sldMkLst>
          <pc:docMk/>
          <pc:sldMk cId="1083601055" sldId="2134959180"/>
        </pc:sldMkLst>
      </pc:sldChg>
    </pc:docChg>
  </pc:docChgLst>
  <pc:docChgLst>
    <pc:chgData name="GSVE (Gianluca Stivale)" userId="b2f3af48-7d3d-4911-89cc-4769d0faa1c3" providerId="ADAL" clId="{C09B78CE-C5B8-4347-BDAE-107C9E76A3FB}"/>
    <pc:docChg chg="undo redo custSel addSld delSld modSld sldOrd addMainMaster delMainMaster addSection modSection">
      <pc:chgData name="GSVE (Gianluca Stivale)" userId="b2f3af48-7d3d-4911-89cc-4769d0faa1c3" providerId="ADAL" clId="{C09B78CE-C5B8-4347-BDAE-107C9E76A3FB}" dt="2022-03-30T21:28:56.220" v="1031" actId="6549"/>
      <pc:docMkLst>
        <pc:docMk/>
      </pc:docMkLst>
      <pc:sldChg chg="addSp modSp mod modNotes modNotesTx">
        <pc:chgData name="GSVE (Gianluca Stivale)" userId="b2f3af48-7d3d-4911-89cc-4769d0faa1c3" providerId="ADAL" clId="{C09B78CE-C5B8-4347-BDAE-107C9E76A3FB}" dt="2022-03-22T11:42:21.983" v="853" actId="20577"/>
        <pc:sldMkLst>
          <pc:docMk/>
          <pc:sldMk cId="522573127" sldId="262"/>
        </pc:sldMkLst>
        <pc:spChg chg="add mod">
          <ac:chgData name="GSVE (Gianluca Stivale)" userId="b2f3af48-7d3d-4911-89cc-4769d0faa1c3" providerId="ADAL" clId="{C09B78CE-C5B8-4347-BDAE-107C9E76A3FB}" dt="2022-03-22T11:30:39.130" v="665" actId="20577"/>
          <ac:spMkLst>
            <pc:docMk/>
            <pc:sldMk cId="522573127" sldId="262"/>
            <ac:spMk id="11" creationId="{A412EB79-EFDC-4BA3-A619-EF6BFC85AD7C}"/>
          </ac:spMkLst>
        </pc:spChg>
        <pc:spChg chg="add mod">
          <ac:chgData name="GSVE (Gianluca Stivale)" userId="b2f3af48-7d3d-4911-89cc-4769d0faa1c3" providerId="ADAL" clId="{C09B78CE-C5B8-4347-BDAE-107C9E76A3FB}" dt="2022-03-22T11:30:51.190" v="669" actId="20577"/>
          <ac:spMkLst>
            <pc:docMk/>
            <pc:sldMk cId="522573127" sldId="262"/>
            <ac:spMk id="12" creationId="{37925A98-08B8-4AAE-BDF5-9C87CBCD59AB}"/>
          </ac:spMkLst>
        </pc:spChg>
        <pc:spChg chg="mod">
          <ac:chgData name="GSVE (Gianluca Stivale)" userId="b2f3af48-7d3d-4911-89cc-4769d0faa1c3" providerId="ADAL" clId="{C09B78CE-C5B8-4347-BDAE-107C9E76A3FB}" dt="2022-03-22T11:42:21.983" v="853" actId="20577"/>
          <ac:spMkLst>
            <pc:docMk/>
            <pc:sldMk cId="522573127" sldId="262"/>
            <ac:spMk id="23555" creationId="{00000000-0000-0000-0000-000000000000}"/>
          </ac:spMkLst>
        </pc:spChg>
      </pc:sldChg>
      <pc:sldChg chg="del">
        <pc:chgData name="GSVE (Gianluca Stivale)" userId="b2f3af48-7d3d-4911-89cc-4769d0faa1c3" providerId="ADAL" clId="{C09B78CE-C5B8-4347-BDAE-107C9E76A3FB}" dt="2022-03-22T09:40:33.165" v="0" actId="47"/>
        <pc:sldMkLst>
          <pc:docMk/>
          <pc:sldMk cId="3598511070" sldId="265"/>
        </pc:sldMkLst>
      </pc:sldChg>
      <pc:sldChg chg="add del">
        <pc:chgData name="GSVE (Gianluca Stivale)" userId="b2f3af48-7d3d-4911-89cc-4769d0faa1c3" providerId="ADAL" clId="{C09B78CE-C5B8-4347-BDAE-107C9E76A3FB}" dt="2022-03-22T15:30:12.095" v="1028" actId="47"/>
        <pc:sldMkLst>
          <pc:docMk/>
          <pc:sldMk cId="4238675435" sldId="277"/>
        </pc:sldMkLst>
      </pc:sldChg>
      <pc:sldChg chg="addSp modSp">
        <pc:chgData name="GSVE (Gianluca Stivale)" userId="b2f3af48-7d3d-4911-89cc-4769d0faa1c3" providerId="ADAL" clId="{C09B78CE-C5B8-4347-BDAE-107C9E76A3FB}" dt="2022-03-22T09:43:13.593" v="53"/>
        <pc:sldMkLst>
          <pc:docMk/>
          <pc:sldMk cId="2918337567" sldId="834"/>
        </pc:sldMkLst>
        <pc:spChg chg="add mod">
          <ac:chgData name="GSVE (Gianluca Stivale)" userId="b2f3af48-7d3d-4911-89cc-4769d0faa1c3" providerId="ADAL" clId="{C09B78CE-C5B8-4347-BDAE-107C9E76A3FB}" dt="2022-03-22T09:43:13.593" v="53"/>
          <ac:spMkLst>
            <pc:docMk/>
            <pc:sldMk cId="2918337567" sldId="834"/>
            <ac:spMk id="45" creationId="{9409713C-7B08-46B0-AC9A-6EE378170F17}"/>
          </ac:spMkLst>
        </pc:spChg>
      </pc:sldChg>
      <pc:sldChg chg="del">
        <pc:chgData name="GSVE (Gianluca Stivale)" userId="b2f3af48-7d3d-4911-89cc-4769d0faa1c3" providerId="ADAL" clId="{C09B78CE-C5B8-4347-BDAE-107C9E76A3FB}" dt="2022-03-22T09:42:58.096" v="52" actId="47"/>
        <pc:sldMkLst>
          <pc:docMk/>
          <pc:sldMk cId="4223881430" sldId="951"/>
        </pc:sldMkLst>
      </pc:sldChg>
      <pc:sldChg chg="add del">
        <pc:chgData name="GSVE (Gianluca Stivale)" userId="b2f3af48-7d3d-4911-89cc-4769d0faa1c3" providerId="ADAL" clId="{C09B78CE-C5B8-4347-BDAE-107C9E76A3FB}" dt="2022-03-22T10:18:35.759" v="311" actId="47"/>
        <pc:sldMkLst>
          <pc:docMk/>
          <pc:sldMk cId="1013814698" sldId="1697"/>
        </pc:sldMkLst>
      </pc:sldChg>
      <pc:sldChg chg="add del">
        <pc:chgData name="GSVE (Gianluca Stivale)" userId="b2f3af48-7d3d-4911-89cc-4769d0faa1c3" providerId="ADAL" clId="{C09B78CE-C5B8-4347-BDAE-107C9E76A3FB}" dt="2022-03-22T10:22:04.715" v="395" actId="47"/>
        <pc:sldMkLst>
          <pc:docMk/>
          <pc:sldMk cId="847617301" sldId="2222"/>
        </pc:sldMkLst>
      </pc:sldChg>
      <pc:sldChg chg="mod ord modShow">
        <pc:chgData name="GSVE (Gianluca Stivale)" userId="b2f3af48-7d3d-4911-89cc-4769d0faa1c3" providerId="ADAL" clId="{C09B78CE-C5B8-4347-BDAE-107C9E76A3FB}" dt="2022-03-22T11:47:23.385" v="885"/>
        <pc:sldMkLst>
          <pc:docMk/>
          <pc:sldMk cId="198454668" sldId="3597"/>
        </pc:sldMkLst>
      </pc:sldChg>
      <pc:sldChg chg="ord">
        <pc:chgData name="GSVE (Gianluca Stivale)" userId="b2f3af48-7d3d-4911-89cc-4769d0faa1c3" providerId="ADAL" clId="{C09B78CE-C5B8-4347-BDAE-107C9E76A3FB}" dt="2022-03-22T11:47:23.385" v="885"/>
        <pc:sldMkLst>
          <pc:docMk/>
          <pc:sldMk cId="3181971256" sldId="2096975783"/>
        </pc:sldMkLst>
      </pc:sldChg>
      <pc:sldChg chg="addSp modSp mod modAnim modNotesTx">
        <pc:chgData name="GSVE (Gianluca Stivale)" userId="b2f3af48-7d3d-4911-89cc-4769d0faa1c3" providerId="ADAL" clId="{C09B78CE-C5B8-4347-BDAE-107C9E76A3FB}" dt="2022-03-22T10:21:11.318" v="393" actId="20577"/>
        <pc:sldMkLst>
          <pc:docMk/>
          <pc:sldMk cId="3944817199" sldId="2096975839"/>
        </pc:sldMkLst>
        <pc:spChg chg="mod">
          <ac:chgData name="GSVE (Gianluca Stivale)" userId="b2f3af48-7d3d-4911-89cc-4769d0faa1c3" providerId="ADAL" clId="{C09B78CE-C5B8-4347-BDAE-107C9E76A3FB}" dt="2022-03-22T09:46:58.776" v="90" actId="1036"/>
          <ac:spMkLst>
            <pc:docMk/>
            <pc:sldMk cId="3944817199" sldId="2096975839"/>
            <ac:spMk id="11" creationId="{A37E9905-665B-4DDE-9930-076C0AAC839E}"/>
          </ac:spMkLst>
        </pc:spChg>
        <pc:spChg chg="mod">
          <ac:chgData name="GSVE (Gianluca Stivale)" userId="b2f3af48-7d3d-4911-89cc-4769d0faa1c3" providerId="ADAL" clId="{C09B78CE-C5B8-4347-BDAE-107C9E76A3FB}" dt="2022-03-22T09:47:12.006" v="92" actId="14100"/>
          <ac:spMkLst>
            <pc:docMk/>
            <pc:sldMk cId="3944817199" sldId="2096975839"/>
            <ac:spMk id="12" creationId="{914DF80C-80A0-435E-94AF-2664A650F268}"/>
          </ac:spMkLst>
        </pc:spChg>
        <pc:spChg chg="mod">
          <ac:chgData name="GSVE (Gianluca Stivale)" userId="b2f3af48-7d3d-4911-89cc-4769d0faa1c3" providerId="ADAL" clId="{C09B78CE-C5B8-4347-BDAE-107C9E76A3FB}" dt="2022-03-22T09:46:58.776" v="90" actId="1036"/>
          <ac:spMkLst>
            <pc:docMk/>
            <pc:sldMk cId="3944817199" sldId="2096975839"/>
            <ac:spMk id="14" creationId="{626672FA-3D48-47F2-82BB-22022D4D28ED}"/>
          </ac:spMkLst>
        </pc:spChg>
        <pc:spChg chg="mod">
          <ac:chgData name="GSVE (Gianluca Stivale)" userId="b2f3af48-7d3d-4911-89cc-4769d0faa1c3" providerId="ADAL" clId="{C09B78CE-C5B8-4347-BDAE-107C9E76A3FB}" dt="2022-03-22T09:46:33.984" v="69" actId="1076"/>
          <ac:spMkLst>
            <pc:docMk/>
            <pc:sldMk cId="3944817199" sldId="2096975839"/>
            <ac:spMk id="15" creationId="{1F6E73B1-FB00-4A05-8BAE-66EBE03C85E3}"/>
          </ac:spMkLst>
        </pc:spChg>
        <pc:spChg chg="mod">
          <ac:chgData name="GSVE (Gianluca Stivale)" userId="b2f3af48-7d3d-4911-89cc-4769d0faa1c3" providerId="ADAL" clId="{C09B78CE-C5B8-4347-BDAE-107C9E76A3FB}" dt="2022-03-22T09:46:33.984" v="69" actId="1076"/>
          <ac:spMkLst>
            <pc:docMk/>
            <pc:sldMk cId="3944817199" sldId="2096975839"/>
            <ac:spMk id="16" creationId="{EB087A68-72BC-4818-B1D7-FD8AF2AB6D94}"/>
          </ac:spMkLst>
        </pc:spChg>
        <pc:spChg chg="mod">
          <ac:chgData name="GSVE (Gianluca Stivale)" userId="b2f3af48-7d3d-4911-89cc-4769d0faa1c3" providerId="ADAL" clId="{C09B78CE-C5B8-4347-BDAE-107C9E76A3FB}" dt="2022-03-22T10:08:20.201" v="216"/>
          <ac:spMkLst>
            <pc:docMk/>
            <pc:sldMk cId="3944817199" sldId="2096975839"/>
            <ac:spMk id="17" creationId="{A56F934B-7561-4C68-806A-5AF2B014BFCF}"/>
          </ac:spMkLst>
        </pc:spChg>
        <pc:spChg chg="add mod">
          <ac:chgData name="GSVE (Gianluca Stivale)" userId="b2f3af48-7d3d-4911-89cc-4769d0faa1c3" providerId="ADAL" clId="{C09B78CE-C5B8-4347-BDAE-107C9E76A3FB}" dt="2022-03-22T09:49:52.496" v="167" actId="1035"/>
          <ac:spMkLst>
            <pc:docMk/>
            <pc:sldMk cId="3944817199" sldId="2096975839"/>
            <ac:spMk id="18" creationId="{F6D5517B-1FD5-4A3E-B3C6-035B50D91992}"/>
          </ac:spMkLst>
        </pc:spChg>
        <pc:spChg chg="mod">
          <ac:chgData name="GSVE (Gianluca Stivale)" userId="b2f3af48-7d3d-4911-89cc-4769d0faa1c3" providerId="ADAL" clId="{C09B78CE-C5B8-4347-BDAE-107C9E76A3FB}" dt="2022-03-22T10:15:16.098" v="308"/>
          <ac:spMkLst>
            <pc:docMk/>
            <pc:sldMk cId="3944817199" sldId="2096975839"/>
            <ac:spMk id="48" creationId="{0B218923-5A6C-455C-A8D0-D830EF955958}"/>
          </ac:spMkLst>
        </pc:spChg>
        <pc:picChg chg="mod">
          <ac:chgData name="GSVE (Gianluca Stivale)" userId="b2f3af48-7d3d-4911-89cc-4769d0faa1c3" providerId="ADAL" clId="{C09B78CE-C5B8-4347-BDAE-107C9E76A3FB}" dt="2022-03-22T09:46:58.776" v="90" actId="1036"/>
          <ac:picMkLst>
            <pc:docMk/>
            <pc:sldMk cId="3944817199" sldId="2096975839"/>
            <ac:picMk id="2" creationId="{1B49E966-0732-4809-9E70-C0D814DAF6DB}"/>
          </ac:picMkLst>
        </pc:picChg>
        <pc:picChg chg="add mod modCrop">
          <ac:chgData name="GSVE (Gianluca Stivale)" userId="b2f3af48-7d3d-4911-89cc-4769d0faa1c3" providerId="ADAL" clId="{C09B78CE-C5B8-4347-BDAE-107C9E76A3FB}" dt="2022-03-22T09:47:27.132" v="95" actId="1035"/>
          <ac:picMkLst>
            <pc:docMk/>
            <pc:sldMk cId="3944817199" sldId="2096975839"/>
            <ac:picMk id="4" creationId="{BC3ECD25-EDC5-45D9-A845-4C72D6FF02EF}"/>
          </ac:picMkLst>
        </pc:picChg>
      </pc:sldChg>
      <pc:sldChg chg="ord">
        <pc:chgData name="GSVE (Gianluca Stivale)" userId="b2f3af48-7d3d-4911-89cc-4769d0faa1c3" providerId="ADAL" clId="{C09B78CE-C5B8-4347-BDAE-107C9E76A3FB}" dt="2022-03-22T11:46:37.486" v="875"/>
        <pc:sldMkLst>
          <pc:docMk/>
          <pc:sldMk cId="3743781151" sldId="2096975843"/>
        </pc:sldMkLst>
      </pc:sldChg>
      <pc:sldChg chg="ord">
        <pc:chgData name="GSVE (Gianluca Stivale)" userId="b2f3af48-7d3d-4911-89cc-4769d0faa1c3" providerId="ADAL" clId="{C09B78CE-C5B8-4347-BDAE-107C9E76A3FB}" dt="2022-03-22T11:46:37.486" v="875"/>
        <pc:sldMkLst>
          <pc:docMk/>
          <pc:sldMk cId="2976863585" sldId="2096975847"/>
        </pc:sldMkLst>
      </pc:sldChg>
      <pc:sldChg chg="ord">
        <pc:chgData name="GSVE (Gianluca Stivale)" userId="b2f3af48-7d3d-4911-89cc-4769d0faa1c3" providerId="ADAL" clId="{C09B78CE-C5B8-4347-BDAE-107C9E76A3FB}" dt="2022-03-22T11:47:23.385" v="885"/>
        <pc:sldMkLst>
          <pc:docMk/>
          <pc:sldMk cId="1910899293" sldId="2096975849"/>
        </pc:sldMkLst>
      </pc:sldChg>
      <pc:sldChg chg="add">
        <pc:chgData name="GSVE (Gianluca Stivale)" userId="b2f3af48-7d3d-4911-89cc-4769d0faa1c3" providerId="ADAL" clId="{C09B78CE-C5B8-4347-BDAE-107C9E76A3FB}" dt="2022-03-22T10:36:38.348" v="514"/>
        <pc:sldMkLst>
          <pc:docMk/>
          <pc:sldMk cId="3434536979" sldId="2134804820"/>
        </pc:sldMkLst>
      </pc:sldChg>
      <pc:sldChg chg="del">
        <pc:chgData name="GSVE (Gianluca Stivale)" userId="b2f3af48-7d3d-4911-89cc-4769d0faa1c3" providerId="ADAL" clId="{C09B78CE-C5B8-4347-BDAE-107C9E76A3FB}" dt="2022-03-22T10:36:33.314" v="513" actId="2696"/>
        <pc:sldMkLst>
          <pc:docMk/>
          <pc:sldMk cId="3464929776" sldId="2134804820"/>
        </pc:sldMkLst>
      </pc:sldChg>
      <pc:sldChg chg="ord">
        <pc:chgData name="GSVE (Gianluca Stivale)" userId="b2f3af48-7d3d-4911-89cc-4769d0faa1c3" providerId="ADAL" clId="{C09B78CE-C5B8-4347-BDAE-107C9E76A3FB}" dt="2022-03-22T11:47:23.385" v="885"/>
        <pc:sldMkLst>
          <pc:docMk/>
          <pc:sldMk cId="3804314140" sldId="2134959158"/>
        </pc:sldMkLst>
      </pc:sldChg>
      <pc:sldChg chg="addSp modSp ord">
        <pc:chgData name="GSVE (Gianluca Stivale)" userId="b2f3af48-7d3d-4911-89cc-4769d0faa1c3" providerId="ADAL" clId="{C09B78CE-C5B8-4347-BDAE-107C9E76A3FB}" dt="2022-03-22T09:41:44.293" v="44"/>
        <pc:sldMkLst>
          <pc:docMk/>
          <pc:sldMk cId="1357007381" sldId="2134959194"/>
        </pc:sldMkLst>
        <pc:spChg chg="add mod">
          <ac:chgData name="GSVE (Gianluca Stivale)" userId="b2f3af48-7d3d-4911-89cc-4769d0faa1c3" providerId="ADAL" clId="{C09B78CE-C5B8-4347-BDAE-107C9E76A3FB}" dt="2022-03-22T09:41:44.293" v="44"/>
          <ac:spMkLst>
            <pc:docMk/>
            <pc:sldMk cId="1357007381" sldId="2134959194"/>
            <ac:spMk id="37" creationId="{26109951-A5F3-4809-BA4B-FF69A87679EA}"/>
          </ac:spMkLst>
        </pc:spChg>
      </pc:sldChg>
      <pc:sldChg chg="addSp modSp mod modAnim modNotesTx">
        <pc:chgData name="GSVE (Gianluca Stivale)" userId="b2f3af48-7d3d-4911-89cc-4769d0faa1c3" providerId="ADAL" clId="{C09B78CE-C5B8-4347-BDAE-107C9E76A3FB}" dt="2022-03-30T21:27:27.186" v="1030" actId="6549"/>
        <pc:sldMkLst>
          <pc:docMk/>
          <pc:sldMk cId="490554044" sldId="2134959201"/>
        </pc:sldMkLst>
        <pc:spChg chg="add mod">
          <ac:chgData name="GSVE (Gianluca Stivale)" userId="b2f3af48-7d3d-4911-89cc-4769d0faa1c3" providerId="ADAL" clId="{C09B78CE-C5B8-4347-BDAE-107C9E76A3FB}" dt="2022-03-22T10:29:37.251" v="510" actId="1036"/>
          <ac:spMkLst>
            <pc:docMk/>
            <pc:sldMk cId="490554044" sldId="2134959201"/>
            <ac:spMk id="19" creationId="{C97EBD1F-990C-4C9B-AF22-127DB5EEDD22}"/>
          </ac:spMkLst>
        </pc:spChg>
        <pc:spChg chg="mod">
          <ac:chgData name="GSVE (Gianluca Stivale)" userId="b2f3af48-7d3d-4911-89cc-4769d0faa1c3" providerId="ADAL" clId="{C09B78CE-C5B8-4347-BDAE-107C9E76A3FB}" dt="2022-03-22T10:29:43.827" v="511" actId="1076"/>
          <ac:spMkLst>
            <pc:docMk/>
            <pc:sldMk cId="490554044" sldId="2134959201"/>
            <ac:spMk id="20" creationId="{125B45D5-2AA1-4E6E-A187-FB2704B10B6B}"/>
          </ac:spMkLst>
        </pc:spChg>
        <pc:spChg chg="mod">
          <ac:chgData name="GSVE (Gianluca Stivale)" userId="b2f3af48-7d3d-4911-89cc-4769d0faa1c3" providerId="ADAL" clId="{C09B78CE-C5B8-4347-BDAE-107C9E76A3FB}" dt="2022-03-22T11:44:47.147" v="872" actId="20577"/>
          <ac:spMkLst>
            <pc:docMk/>
            <pc:sldMk cId="490554044" sldId="2134959201"/>
            <ac:spMk id="21" creationId="{1630ECF1-710F-4AA5-8CCF-26F1F0F2CC84}"/>
          </ac:spMkLst>
        </pc:spChg>
      </pc:sldChg>
      <pc:sldChg chg="modSp mod ord">
        <pc:chgData name="GSVE (Gianluca Stivale)" userId="b2f3af48-7d3d-4911-89cc-4769d0faa1c3" providerId="ADAL" clId="{C09B78CE-C5B8-4347-BDAE-107C9E76A3FB}" dt="2022-03-22T15:16:08.146" v="1014" actId="1076"/>
        <pc:sldMkLst>
          <pc:docMk/>
          <pc:sldMk cId="1412886652" sldId="2134959211"/>
        </pc:sldMkLst>
        <pc:picChg chg="mod">
          <ac:chgData name="GSVE (Gianluca Stivale)" userId="b2f3af48-7d3d-4911-89cc-4769d0faa1c3" providerId="ADAL" clId="{C09B78CE-C5B8-4347-BDAE-107C9E76A3FB}" dt="2022-03-22T15:16:08.146" v="1014" actId="1076"/>
          <ac:picMkLst>
            <pc:docMk/>
            <pc:sldMk cId="1412886652" sldId="2134959211"/>
            <ac:picMk id="130" creationId="{17B8B4FB-27CC-4699-8FE5-AFEF934DDC82}"/>
          </ac:picMkLst>
        </pc:picChg>
      </pc:sldChg>
      <pc:sldChg chg="ord">
        <pc:chgData name="GSVE (Gianluca Stivale)" userId="b2f3af48-7d3d-4911-89cc-4769d0faa1c3" providerId="ADAL" clId="{C09B78CE-C5B8-4347-BDAE-107C9E76A3FB}" dt="2022-03-22T11:47:15.367" v="883"/>
        <pc:sldMkLst>
          <pc:docMk/>
          <pc:sldMk cId="982016053" sldId="2134959212"/>
        </pc:sldMkLst>
      </pc:sldChg>
      <pc:sldChg chg="modSp">
        <pc:chgData name="GSVE (Gianluca Stivale)" userId="b2f3af48-7d3d-4911-89cc-4769d0faa1c3" providerId="ADAL" clId="{C09B78CE-C5B8-4347-BDAE-107C9E76A3FB}" dt="2022-03-22T15:19:19.611" v="1026" actId="1036"/>
        <pc:sldMkLst>
          <pc:docMk/>
          <pc:sldMk cId="821810064" sldId="2134959213"/>
        </pc:sldMkLst>
        <pc:picChg chg="mod">
          <ac:chgData name="GSVE (Gianluca Stivale)" userId="b2f3af48-7d3d-4911-89cc-4769d0faa1c3" providerId="ADAL" clId="{C09B78CE-C5B8-4347-BDAE-107C9E76A3FB}" dt="2022-03-22T15:19:19.611" v="1026" actId="1036"/>
          <ac:picMkLst>
            <pc:docMk/>
            <pc:sldMk cId="821810064" sldId="2134959213"/>
            <ac:picMk id="5124" creationId="{28593A47-8709-44A0-8067-59185864D325}"/>
          </ac:picMkLst>
        </pc:picChg>
      </pc:sldChg>
      <pc:sldChg chg="add del">
        <pc:chgData name="GSVE (Gianluca Stivale)" userId="b2f3af48-7d3d-4911-89cc-4769d0faa1c3" providerId="ADAL" clId="{C09B78CE-C5B8-4347-BDAE-107C9E76A3FB}" dt="2022-03-22T11:48:56.714" v="886"/>
        <pc:sldMkLst>
          <pc:docMk/>
          <pc:sldMk cId="4081935598" sldId="2134959214"/>
        </pc:sldMkLst>
      </pc:sldChg>
      <pc:sldChg chg="add del ord">
        <pc:chgData name="GSVE (Gianluca Stivale)" userId="b2f3af48-7d3d-4911-89cc-4769d0faa1c3" providerId="ADAL" clId="{C09B78CE-C5B8-4347-BDAE-107C9E76A3FB}" dt="2022-03-22T11:47:08.732" v="881" actId="47"/>
        <pc:sldMkLst>
          <pc:docMk/>
          <pc:sldMk cId="2817890646" sldId="2134959218"/>
        </pc:sldMkLst>
      </pc:sldChg>
      <pc:sldChg chg="add">
        <pc:chgData name="GSVE (Gianluca Stivale)" userId="b2f3af48-7d3d-4911-89cc-4769d0faa1c3" providerId="ADAL" clId="{C09B78CE-C5B8-4347-BDAE-107C9E76A3FB}" dt="2022-03-22T09:42:56.777" v="51"/>
        <pc:sldMkLst>
          <pc:docMk/>
          <pc:sldMk cId="2245327464" sldId="2134959219"/>
        </pc:sldMkLst>
      </pc:sldChg>
      <pc:sldChg chg="modSp add del mod ord modShow">
        <pc:chgData name="GSVE (Gianluca Stivale)" userId="b2f3af48-7d3d-4911-89cc-4769d0faa1c3" providerId="ADAL" clId="{C09B78CE-C5B8-4347-BDAE-107C9E76A3FB}" dt="2022-03-22T11:47:15.367" v="883"/>
        <pc:sldMkLst>
          <pc:docMk/>
          <pc:sldMk cId="3386985956" sldId="2134959220"/>
        </pc:sldMkLst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" creationId="{47C14661-BC75-4E36-83AB-0E34A4C7F7B6}"/>
          </ac:spMkLst>
        </pc:spChg>
        <pc:spChg chg="mod">
          <ac:chgData name="GSVE (Gianluca Stivale)" userId="b2f3af48-7d3d-4911-89cc-4769d0faa1c3" providerId="ADAL" clId="{C09B78CE-C5B8-4347-BDAE-107C9E76A3FB}" dt="2022-03-22T10:19:00.684" v="321" actId="113"/>
          <ac:spMkLst>
            <pc:docMk/>
            <pc:sldMk cId="3386985956" sldId="2134959220"/>
            <ac:spMk id="3" creationId="{AFA51815-D67C-4E87-B267-46E0209D56E6}"/>
          </ac:spMkLst>
        </pc:spChg>
        <pc:spChg chg="mod">
          <ac:chgData name="GSVE (Gianluca Stivale)" userId="b2f3af48-7d3d-4911-89cc-4769d0faa1c3" providerId="ADAL" clId="{C09B78CE-C5B8-4347-BDAE-107C9E76A3FB}" dt="2022-03-22T10:19:17.563" v="324" actId="207"/>
          <ac:spMkLst>
            <pc:docMk/>
            <pc:sldMk cId="3386985956" sldId="2134959220"/>
            <ac:spMk id="4" creationId="{B9FEE311-EDA3-45CA-ABE2-02E0201F27AE}"/>
          </ac:spMkLst>
        </pc:spChg>
        <pc:spChg chg="mod">
          <ac:chgData name="GSVE (Gianluca Stivale)" userId="b2f3af48-7d3d-4911-89cc-4769d0faa1c3" providerId="ADAL" clId="{C09B78CE-C5B8-4347-BDAE-107C9E76A3FB}" dt="2022-03-22T10:19:26.737" v="342" actId="1038"/>
          <ac:spMkLst>
            <pc:docMk/>
            <pc:sldMk cId="3386985956" sldId="2134959220"/>
            <ac:spMk id="5" creationId="{911EC00D-99FC-489F-9F60-B787BE09D2CB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6" creationId="{C26A65F5-3B6C-4D07-9EBA-B32AC040321E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8" creationId="{16AEBF08-8EBE-493D-A8F8-FF695CC442D3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9" creationId="{7FA594C9-63AB-41A7-8A3D-4810C3CF8C8A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10" creationId="{CEBBCB02-98DE-4A0C-9A8D-0641E4376B58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12" creationId="{7DB1F35F-4170-4780-B3B7-68784C121A5F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15" creationId="{8806C432-24C8-4686-B8BF-CB713FE20FC0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3" creationId="{FB59657D-49C8-4DAD-A720-83F946E4481C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5" creationId="{68378696-86BA-4A63-A30C-7B31BE83905E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6" creationId="{158F3622-AB23-465F-9086-4E4A2B97BB7E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7" creationId="{EA17ACA8-206F-4BE2-8E4B-2821DEF31155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28" creationId="{1C2DABB7-2F0B-4B9D-BDD9-4D18FB41B73B}"/>
          </ac:spMkLst>
        </pc:spChg>
        <pc:spChg chg="mod">
          <ac:chgData name="GSVE (Gianluca Stivale)" userId="b2f3af48-7d3d-4911-89cc-4769d0faa1c3" providerId="ADAL" clId="{C09B78CE-C5B8-4347-BDAE-107C9E76A3FB}" dt="2022-03-22T10:18:57.813" v="320" actId="2711"/>
          <ac:spMkLst>
            <pc:docMk/>
            <pc:sldMk cId="3386985956" sldId="2134959220"/>
            <ac:spMk id="30" creationId="{B85716EC-070F-45F2-883E-C71F3110515B}"/>
          </ac:spMkLst>
        </pc:spChg>
      </pc:sldChg>
      <pc:sldChg chg="modSp mod ord modShow">
        <pc:chgData name="GSVE (Gianluca Stivale)" userId="b2f3af48-7d3d-4911-89cc-4769d0faa1c3" providerId="ADAL" clId="{C09B78CE-C5B8-4347-BDAE-107C9E76A3FB}" dt="2022-03-22T11:47:15.367" v="883"/>
        <pc:sldMkLst>
          <pc:docMk/>
          <pc:sldMk cId="2198858419" sldId="2134959221"/>
        </pc:sldMkLst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" creationId="{01C75819-7E80-4F91-B403-5CCD51846A88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3" creationId="{03504297-501C-451F-8F50-AFF050ED8129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" creationId="{7B0A2C40-705D-4D52-88CA-59778F442686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" creationId="{5BEE90F6-EA5B-4AFC-9655-8AF91EA2DFDE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6" creationId="{9071FDF6-0B33-4D80-B5B1-739C08B3DA01}"/>
          </ac:spMkLst>
        </pc:spChg>
        <pc:spChg chg="mod">
          <ac:chgData name="GSVE (Gianluca Stivale)" userId="b2f3af48-7d3d-4911-89cc-4769d0faa1c3" providerId="ADAL" clId="{C09B78CE-C5B8-4347-BDAE-107C9E76A3FB}" dt="2022-03-22T10:22:17.614" v="399" actId="255"/>
          <ac:spMkLst>
            <pc:docMk/>
            <pc:sldMk cId="2198858419" sldId="2134959221"/>
            <ac:spMk id="8" creationId="{5B5C547E-26D0-4038-B5DB-9FCAA02D1DCC}"/>
          </ac:spMkLst>
        </pc:spChg>
        <pc:spChg chg="mod">
          <ac:chgData name="GSVE (Gianluca Stivale)" userId="b2f3af48-7d3d-4911-89cc-4769d0faa1c3" providerId="ADAL" clId="{C09B78CE-C5B8-4347-BDAE-107C9E76A3FB}" dt="2022-03-22T10:22:27.621" v="419" actId="1035"/>
          <ac:spMkLst>
            <pc:docMk/>
            <pc:sldMk cId="2198858419" sldId="2134959221"/>
            <ac:spMk id="9" creationId="{3BA39094-1F16-4C7B-8E4E-57F244DFFA85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11" creationId="{6CA954F2-E9B2-47BA-927E-D9E686B3D1E3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12" creationId="{4534962E-1F25-47D4-BAB5-81F01E51203A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16" creationId="{EE21FF93-5E1D-43DD-945B-EA4A82D5F937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18" creationId="{2D51F2F0-0ECB-4320-B524-C35D9B4F7682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19" creationId="{AA920584-D5C7-415C-9582-20CFA2612FC9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2" creationId="{2BBD7D72-5F74-44BF-89D0-7A97341AE2CD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3" creationId="{ABC52AD1-AA76-4428-8377-A1611B7D1D61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4" creationId="{9A8CF801-D9FE-49F4-BB6E-D9F5D58BF383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5" creationId="{497EB3BF-EA0C-4D0D-81E4-2F69B7A53B14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26" creationId="{61ABBF20-14AE-45C0-B568-C45C7E9FF1AD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35" creationId="{D9CDF980-9445-4F17-8C0E-03DF384BF721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38" creationId="{005F94EF-D467-4CFE-84E5-FA3C477CE302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39" creationId="{F3375DCC-C84C-4963-8D16-23ACC4F652BB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0" creationId="{C3C33BAC-9DF1-4592-8986-3B99D0A4F282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1" creationId="{2AAB99E0-A827-4BD8-9FC4-10B70B9E4318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2" creationId="{2347437B-733B-419B-B450-9E2D5891DC8D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3" creationId="{CB3F0114-BD09-4E42-BA20-0CC570AF9281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4" creationId="{517E5438-5182-419F-B238-4A11BD1ED7C0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5" creationId="{9DE12D9F-5A81-4B23-816E-22247B858545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6" creationId="{E0E943DA-2C20-4E4F-9553-AF86A6EC4C59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7" creationId="{79201399-F667-4313-87C9-0857818E60C9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8" creationId="{6D0B6E2B-3328-40C2-803E-AB7EE8177E05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49" creationId="{367EBD19-6CFF-4431-9F7F-3C9F9D56B6D6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0" creationId="{A6938199-A996-4546-A922-98BD596B154A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1" creationId="{77A72050-804B-4FC6-9127-D73693EAFA38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2" creationId="{D6F648BE-B98A-47A2-8012-0092735167A1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3" creationId="{380DB737-5B48-4D61-84E6-6C7527D951DA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4" creationId="{DC3B2314-7941-47D4-86A0-AEB441D76E38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5" creationId="{FAEE19E9-4200-418F-B9B6-E17FD8827985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6" creationId="{A8442074-D581-483E-A409-1A8905069AA5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58" creationId="{D1AE0E44-0046-48F9-99CF-1A54863019F6}"/>
          </ac:spMkLst>
        </pc:spChg>
        <pc:spChg chg="mod">
          <ac:chgData name="GSVE (Gianluca Stivale)" userId="b2f3af48-7d3d-4911-89cc-4769d0faa1c3" providerId="ADAL" clId="{C09B78CE-C5B8-4347-BDAE-107C9E76A3FB}" dt="2022-03-22T10:22:10.518" v="396" actId="2711"/>
          <ac:spMkLst>
            <pc:docMk/>
            <pc:sldMk cId="2198858419" sldId="2134959221"/>
            <ac:spMk id="60" creationId="{D22788F1-7BB1-4B0D-ABBE-A0214629B3B2}"/>
          </ac:spMkLst>
        </pc:spChg>
      </pc:sldChg>
      <pc:sldChg chg="add modNotesTx">
        <pc:chgData name="GSVE (Gianluca Stivale)" userId="b2f3af48-7d3d-4911-89cc-4769d0faa1c3" providerId="ADAL" clId="{C09B78CE-C5B8-4347-BDAE-107C9E76A3FB}" dt="2022-03-30T21:28:56.220" v="1031" actId="6549"/>
        <pc:sldMkLst>
          <pc:docMk/>
          <pc:sldMk cId="1019255884" sldId="2134959245"/>
        </pc:sldMkLst>
      </pc:sldChg>
      <pc:sldChg chg="addSp delSp modSp add del mod modAnim">
        <pc:chgData name="GSVE (Gianluca Stivale)" userId="b2f3af48-7d3d-4911-89cc-4769d0faa1c3" providerId="ADAL" clId="{C09B78CE-C5B8-4347-BDAE-107C9E76A3FB}" dt="2022-03-22T11:06:33.879" v="521" actId="47"/>
        <pc:sldMkLst>
          <pc:docMk/>
          <pc:sldMk cId="1245124646" sldId="2134959246"/>
        </pc:sldMkLst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2" creationId="{627D5080-A77A-428C-A7B2-BF406AAAA609}"/>
          </ac:spMkLst>
        </pc:spChg>
        <pc:spChg chg="add del mod">
          <ac:chgData name="GSVE (Gianluca Stivale)" userId="b2f3af48-7d3d-4911-89cc-4769d0faa1c3" providerId="ADAL" clId="{C09B78CE-C5B8-4347-BDAE-107C9E76A3FB}" dt="2022-03-22T10:54:54.051" v="520" actId="478"/>
          <ac:spMkLst>
            <pc:docMk/>
            <pc:sldMk cId="1245124646" sldId="2134959246"/>
            <ac:spMk id="3" creationId="{59764752-57DE-4F12-8DC8-B4F993274114}"/>
          </ac:spMkLst>
        </pc:spChg>
        <pc:spChg chg="del mod">
          <ac:chgData name="GSVE (Gianluca Stivale)" userId="b2f3af48-7d3d-4911-89cc-4769d0faa1c3" providerId="ADAL" clId="{C09B78CE-C5B8-4347-BDAE-107C9E76A3FB}" dt="2022-03-22T10:54:51.331" v="518" actId="478"/>
          <ac:spMkLst>
            <pc:docMk/>
            <pc:sldMk cId="1245124646" sldId="2134959246"/>
            <ac:spMk id="14" creationId="{3182D35D-4549-4931-AF95-35582365A1C5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15" creationId="{18D7344B-74CA-49C1-8F18-97F2217463DD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16" creationId="{D9EFF5E1-DA05-4D98-8661-EEB40068F4FA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17" creationId="{D99443D4-2B3B-453E-8E89-09A1F42EC343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18" creationId="{9D9EA32E-01ED-41FF-8D2B-06076A54FFCF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19" creationId="{C97EBD1F-990C-4C9B-AF22-127DB5EEDD22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20" creationId="{125B45D5-2AA1-4E6E-A187-FB2704B10B6B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21" creationId="{1630ECF1-710F-4AA5-8CCF-26F1F0F2CC84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31" creationId="{825AA73C-2284-49D3-90B8-EBB142E5719F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32" creationId="{0E68D5D4-60AF-48C6-A633-080F4F3F3906}"/>
          </ac:spMkLst>
        </pc:spChg>
        <pc:spChg chg="del">
          <ac:chgData name="GSVE (Gianluca Stivale)" userId="b2f3af48-7d3d-4911-89cc-4769d0faa1c3" providerId="ADAL" clId="{C09B78CE-C5B8-4347-BDAE-107C9E76A3FB}" dt="2022-03-22T10:54:49.909" v="516" actId="478"/>
          <ac:spMkLst>
            <pc:docMk/>
            <pc:sldMk cId="1245124646" sldId="2134959246"/>
            <ac:spMk id="33" creationId="{4C769706-0581-485D-8500-1056E296E965}"/>
          </ac:spMkLst>
        </pc:spChg>
        <pc:spChg chg="del">
          <ac:chgData name="GSVE (Gianluca Stivale)" userId="b2f3af48-7d3d-4911-89cc-4769d0faa1c3" providerId="ADAL" clId="{C09B78CE-C5B8-4347-BDAE-107C9E76A3FB}" dt="2022-03-22T10:54:52.616" v="519" actId="478"/>
          <ac:spMkLst>
            <pc:docMk/>
            <pc:sldMk cId="1245124646" sldId="2134959246"/>
            <ac:spMk id="34" creationId="{70181331-BACB-4630-BF06-5650FC5E9C5F}"/>
          </ac:spMkLst>
        </pc:spChg>
        <pc:picChg chg="del">
          <ac:chgData name="GSVE (Gianluca Stivale)" userId="b2f3af48-7d3d-4911-89cc-4769d0faa1c3" providerId="ADAL" clId="{C09B78CE-C5B8-4347-BDAE-107C9E76A3FB}" dt="2022-03-22T10:54:49.909" v="516" actId="478"/>
          <ac:picMkLst>
            <pc:docMk/>
            <pc:sldMk cId="1245124646" sldId="2134959246"/>
            <ac:picMk id="1026" creationId="{1050F57C-B061-41ED-8A3A-69369F13EFBA}"/>
          </ac:picMkLst>
        </pc:picChg>
        <pc:picChg chg="del">
          <ac:chgData name="GSVE (Gianluca Stivale)" userId="b2f3af48-7d3d-4911-89cc-4769d0faa1c3" providerId="ADAL" clId="{C09B78CE-C5B8-4347-BDAE-107C9E76A3FB}" dt="2022-03-22T10:54:49.909" v="516" actId="478"/>
          <ac:picMkLst>
            <pc:docMk/>
            <pc:sldMk cId="1245124646" sldId="2134959246"/>
            <ac:picMk id="1028" creationId="{D7C1F7FA-FF0D-45F3-9067-AA2323A5DCD3}"/>
          </ac:picMkLst>
        </pc:picChg>
      </pc:sldChg>
      <pc:sldChg chg="addSp delSp modSp add mod modAnim modNotes modNotesTx">
        <pc:chgData name="GSVE (Gianluca Stivale)" userId="b2f3af48-7d3d-4911-89cc-4769d0faa1c3" providerId="ADAL" clId="{C09B78CE-C5B8-4347-BDAE-107C9E76A3FB}" dt="2022-03-22T15:03:46.677" v="890" actId="27636"/>
        <pc:sldMkLst>
          <pc:docMk/>
          <pc:sldMk cId="2426029301" sldId="2134959246"/>
        </pc:sldMkLst>
        <pc:spChg chg="add del mod">
          <ac:chgData name="GSVE (Gianluca Stivale)" userId="b2f3af48-7d3d-4911-89cc-4769d0faa1c3" providerId="ADAL" clId="{C09B78CE-C5B8-4347-BDAE-107C9E76A3FB}" dt="2022-03-22T11:21:18.963" v="538" actId="478"/>
          <ac:spMkLst>
            <pc:docMk/>
            <pc:sldMk cId="2426029301" sldId="2134959246"/>
            <ac:spMk id="2" creationId="{32403CF4-C6AD-4299-9DC9-ED2ACFC30B06}"/>
          </ac:spMkLst>
        </pc:spChg>
        <pc:spChg chg="add mod ord">
          <ac:chgData name="GSVE (Gianluca Stivale)" userId="b2f3af48-7d3d-4911-89cc-4769d0faa1c3" providerId="ADAL" clId="{C09B78CE-C5B8-4347-BDAE-107C9E76A3FB}" dt="2022-03-22T11:44:24.139" v="868" actId="14100"/>
          <ac:spMkLst>
            <pc:docMk/>
            <pc:sldMk cId="2426029301" sldId="2134959246"/>
            <ac:spMk id="3" creationId="{B48A1B8F-9C5B-43A6-B967-E4EDF4BFB204}"/>
          </ac:spMkLst>
        </pc:spChg>
        <pc:spChg chg="del">
          <ac:chgData name="GSVE (Gianluca Stivale)" userId="b2f3af48-7d3d-4911-89cc-4769d0faa1c3" providerId="ADAL" clId="{C09B78CE-C5B8-4347-BDAE-107C9E76A3FB}" dt="2022-03-22T11:21:16.308" v="535" actId="478"/>
          <ac:spMkLst>
            <pc:docMk/>
            <pc:sldMk cId="2426029301" sldId="2134959246"/>
            <ac:spMk id="15" creationId="{EEEC7118-F2FC-4032-B83C-727179D208F6}"/>
          </ac:spMkLst>
        </pc:spChg>
        <pc:spChg chg="del">
          <ac:chgData name="GSVE (Gianluca Stivale)" userId="b2f3af48-7d3d-4911-89cc-4769d0faa1c3" providerId="ADAL" clId="{C09B78CE-C5B8-4347-BDAE-107C9E76A3FB}" dt="2022-03-22T11:21:16.308" v="535" actId="478"/>
          <ac:spMkLst>
            <pc:docMk/>
            <pc:sldMk cId="2426029301" sldId="2134959246"/>
            <ac:spMk id="17" creationId="{6C17AC03-23D0-4880-AC80-61A3A91B96AD}"/>
          </ac:spMkLst>
        </pc:spChg>
        <pc:spChg chg="mod">
          <ac:chgData name="GSVE (Gianluca Stivale)" userId="b2f3af48-7d3d-4911-89cc-4769d0faa1c3" providerId="ADAL" clId="{C09B78CE-C5B8-4347-BDAE-107C9E76A3FB}" dt="2022-03-22T11:41:54.631" v="839" actId="20577"/>
          <ac:spMkLst>
            <pc:docMk/>
            <pc:sldMk cId="2426029301" sldId="2134959246"/>
            <ac:spMk id="19" creationId="{BD5749AC-FAF3-4C56-9643-2BE7081D0AAE}"/>
          </ac:spMkLst>
        </pc:spChg>
        <pc:spChg chg="add mod ord">
          <ac:chgData name="GSVE (Gianluca Stivale)" userId="b2f3af48-7d3d-4911-89cc-4769d0faa1c3" providerId="ADAL" clId="{C09B78CE-C5B8-4347-BDAE-107C9E76A3FB}" dt="2022-03-22T11:44:24.139" v="868" actId="14100"/>
          <ac:spMkLst>
            <pc:docMk/>
            <pc:sldMk cId="2426029301" sldId="2134959246"/>
            <ac:spMk id="20" creationId="{79DA1262-D29E-4380-A1CE-E237D869960F}"/>
          </ac:spMkLst>
        </pc:spChg>
        <pc:spChg chg="add mod ord">
          <ac:chgData name="GSVE (Gianluca Stivale)" userId="b2f3af48-7d3d-4911-89cc-4769d0faa1c3" providerId="ADAL" clId="{C09B78CE-C5B8-4347-BDAE-107C9E76A3FB}" dt="2022-03-22T11:44:24.139" v="868" actId="14100"/>
          <ac:spMkLst>
            <pc:docMk/>
            <pc:sldMk cId="2426029301" sldId="2134959246"/>
            <ac:spMk id="21" creationId="{675B86DC-172F-40A7-9669-78589C94835B}"/>
          </ac:spMkLst>
        </pc:spChg>
        <pc:spChg chg="del">
          <ac:chgData name="GSVE (Gianluca Stivale)" userId="b2f3af48-7d3d-4911-89cc-4769d0faa1c3" providerId="ADAL" clId="{C09B78CE-C5B8-4347-BDAE-107C9E76A3FB}" dt="2022-03-22T11:21:23.052" v="540" actId="478"/>
          <ac:spMkLst>
            <pc:docMk/>
            <pc:sldMk cId="2426029301" sldId="2134959246"/>
            <ac:spMk id="22" creationId="{DF5B189B-929A-4C10-999D-84040BE369DA}"/>
          </ac:spMkLst>
        </pc:spChg>
        <pc:spChg chg="add del mod ord">
          <ac:chgData name="GSVE (Gianluca Stivale)" userId="b2f3af48-7d3d-4911-89cc-4769d0faa1c3" providerId="ADAL" clId="{C09B78CE-C5B8-4347-BDAE-107C9E76A3FB}" dt="2022-03-22T11:24:49.484" v="597" actId="478"/>
          <ac:spMkLst>
            <pc:docMk/>
            <pc:sldMk cId="2426029301" sldId="2134959246"/>
            <ac:spMk id="23" creationId="{3228D276-D8B4-41CE-AA40-27C1CB2AAFF9}"/>
          </ac:spMkLst>
        </pc:spChg>
        <pc:spChg chg="add del mod">
          <ac:chgData name="GSVE (Gianluca Stivale)" userId="b2f3af48-7d3d-4911-89cc-4769d0faa1c3" providerId="ADAL" clId="{C09B78CE-C5B8-4347-BDAE-107C9E76A3FB}" dt="2022-03-22T11:24:46.586" v="595" actId="478"/>
          <ac:spMkLst>
            <pc:docMk/>
            <pc:sldMk cId="2426029301" sldId="2134959246"/>
            <ac:spMk id="24" creationId="{11D1EFBD-99A7-4F56-8AEB-9AA641CB7B1C}"/>
          </ac:spMkLst>
        </pc:spChg>
        <pc:spChg chg="add del mod">
          <ac:chgData name="GSVE (Gianluca Stivale)" userId="b2f3af48-7d3d-4911-89cc-4769d0faa1c3" providerId="ADAL" clId="{C09B78CE-C5B8-4347-BDAE-107C9E76A3FB}" dt="2022-03-22T11:25:44.659" v="610"/>
          <ac:spMkLst>
            <pc:docMk/>
            <pc:sldMk cId="2426029301" sldId="2134959246"/>
            <ac:spMk id="25" creationId="{50607D3C-BCFA-44FE-A8DD-2D154A584BED}"/>
          </ac:spMkLst>
        </pc:spChg>
        <pc:spChg chg="add del mod">
          <ac:chgData name="GSVE (Gianluca Stivale)" userId="b2f3af48-7d3d-4911-89cc-4769d0faa1c3" providerId="ADAL" clId="{C09B78CE-C5B8-4347-BDAE-107C9E76A3FB}" dt="2022-03-22T11:27:00.912" v="621"/>
          <ac:spMkLst>
            <pc:docMk/>
            <pc:sldMk cId="2426029301" sldId="2134959246"/>
            <ac:spMk id="26" creationId="{C9007A98-9402-4F1F-8C10-B7B153506718}"/>
          </ac:spMkLst>
        </pc:spChg>
        <pc:spChg chg="add del mod">
          <ac:chgData name="GSVE (Gianluca Stivale)" userId="b2f3af48-7d3d-4911-89cc-4769d0faa1c3" providerId="ADAL" clId="{C09B78CE-C5B8-4347-BDAE-107C9E76A3FB}" dt="2022-03-22T11:27:24.016" v="628" actId="478"/>
          <ac:spMkLst>
            <pc:docMk/>
            <pc:sldMk cId="2426029301" sldId="2134959246"/>
            <ac:spMk id="27" creationId="{E1715C00-DBEB-4F8B-8A7F-DC8E413994A7}"/>
          </ac:spMkLst>
        </pc:spChg>
        <pc:spChg chg="add del mod">
          <ac:chgData name="GSVE (Gianluca Stivale)" userId="b2f3af48-7d3d-4911-89cc-4769d0faa1c3" providerId="ADAL" clId="{C09B78CE-C5B8-4347-BDAE-107C9E76A3FB}" dt="2022-03-22T11:28:58.681" v="645" actId="478"/>
          <ac:spMkLst>
            <pc:docMk/>
            <pc:sldMk cId="2426029301" sldId="2134959246"/>
            <ac:spMk id="28" creationId="{9CF952C4-7BB0-4DB1-B88D-C1FF2666311C}"/>
          </ac:spMkLst>
        </pc:spChg>
        <pc:spChg chg="add del">
          <ac:chgData name="GSVE (Gianluca Stivale)" userId="b2f3af48-7d3d-4911-89cc-4769d0faa1c3" providerId="ADAL" clId="{C09B78CE-C5B8-4347-BDAE-107C9E76A3FB}" dt="2022-03-22T11:42:26.613" v="854" actId="478"/>
          <ac:spMkLst>
            <pc:docMk/>
            <pc:sldMk cId="2426029301" sldId="2134959246"/>
            <ac:spMk id="29" creationId="{46CE171B-489F-4713-9CF1-B49D582BFFB6}"/>
          </ac:spMkLst>
        </pc:spChg>
        <pc:spChg chg="del">
          <ac:chgData name="GSVE (Gianluca Stivale)" userId="b2f3af48-7d3d-4911-89cc-4769d0faa1c3" providerId="ADAL" clId="{C09B78CE-C5B8-4347-BDAE-107C9E76A3FB}" dt="2022-03-22T11:21:16.308" v="535" actId="478"/>
          <ac:spMkLst>
            <pc:docMk/>
            <pc:sldMk cId="2426029301" sldId="2134959246"/>
            <ac:spMk id="16387" creationId="{00000000-0000-0000-0000-000000000000}"/>
          </ac:spMkLst>
        </pc:spChg>
        <pc:spChg chg="mod">
          <ac:chgData name="GSVE (Gianluca Stivale)" userId="b2f3af48-7d3d-4911-89cc-4769d0faa1c3" providerId="ADAL" clId="{C09B78CE-C5B8-4347-BDAE-107C9E76A3FB}" dt="2022-03-22T11:43:17.292" v="857" actId="14100"/>
          <ac:spMkLst>
            <pc:docMk/>
            <pc:sldMk cId="2426029301" sldId="2134959246"/>
            <ac:spMk id="23555" creationId="{00000000-0000-0000-0000-000000000000}"/>
          </ac:spMkLst>
        </pc:spChg>
        <pc:graphicFrameChg chg="del">
          <ac:chgData name="GSVE (Gianluca Stivale)" userId="b2f3af48-7d3d-4911-89cc-4769d0faa1c3" providerId="ADAL" clId="{C09B78CE-C5B8-4347-BDAE-107C9E76A3FB}" dt="2022-03-22T11:21:16.308" v="535" actId="478"/>
          <ac:graphicFrameMkLst>
            <pc:docMk/>
            <pc:sldMk cId="2426029301" sldId="2134959246"/>
            <ac:graphicFrameMk id="14" creationId="{EF00F7E3-4581-4AB1-9390-FD61F567F881}"/>
          </ac:graphicFrameMkLst>
        </pc:graphicFrameChg>
        <pc:picChg chg="add mod modCrop">
          <ac:chgData name="GSVE (Gianluca Stivale)" userId="b2f3af48-7d3d-4911-89cc-4769d0faa1c3" providerId="ADAL" clId="{C09B78CE-C5B8-4347-BDAE-107C9E76A3FB}" dt="2022-03-22T11:44:24.139" v="868" actId="14100"/>
          <ac:picMkLst>
            <pc:docMk/>
            <pc:sldMk cId="2426029301" sldId="2134959246"/>
            <ac:picMk id="4" creationId="{580470C8-0670-4C16-9E4D-9BE9430E6F31}"/>
          </ac:picMkLst>
        </pc:picChg>
        <pc:picChg chg="add mod modCrop">
          <ac:chgData name="GSVE (Gianluca Stivale)" userId="b2f3af48-7d3d-4911-89cc-4769d0faa1c3" providerId="ADAL" clId="{C09B78CE-C5B8-4347-BDAE-107C9E76A3FB}" dt="2022-03-22T11:44:24.139" v="868" actId="14100"/>
          <ac:picMkLst>
            <pc:docMk/>
            <pc:sldMk cId="2426029301" sldId="2134959246"/>
            <ac:picMk id="5" creationId="{D89CBF4E-6B51-48CF-8747-618FDF4A144E}"/>
          </ac:picMkLst>
        </pc:picChg>
        <pc:picChg chg="add mod ord modCrop">
          <ac:chgData name="GSVE (Gianluca Stivale)" userId="b2f3af48-7d3d-4911-89cc-4769d0faa1c3" providerId="ADAL" clId="{C09B78CE-C5B8-4347-BDAE-107C9E76A3FB}" dt="2022-03-22T11:44:24.139" v="868" actId="14100"/>
          <ac:picMkLst>
            <pc:docMk/>
            <pc:sldMk cId="2426029301" sldId="2134959246"/>
            <ac:picMk id="6" creationId="{A6317D3B-7B06-48A7-BF7D-BF3254191592}"/>
          </ac:picMkLst>
        </pc:picChg>
        <pc:picChg chg="add del">
          <ac:chgData name="GSVE (Gianluca Stivale)" userId="b2f3af48-7d3d-4911-89cc-4769d0faa1c3" providerId="ADAL" clId="{C09B78CE-C5B8-4347-BDAE-107C9E76A3FB}" dt="2022-03-22T11:28:56.789" v="644" actId="478"/>
          <ac:picMkLst>
            <pc:docMk/>
            <pc:sldMk cId="2426029301" sldId="2134959246"/>
            <ac:picMk id="7" creationId="{53CB255C-3F2C-4B83-B086-19F9EFFCA748}"/>
          </ac:picMkLst>
        </pc:picChg>
        <pc:picChg chg="add mod ord modCrop">
          <ac:chgData name="GSVE (Gianluca Stivale)" userId="b2f3af48-7d3d-4911-89cc-4769d0faa1c3" providerId="ADAL" clId="{C09B78CE-C5B8-4347-BDAE-107C9E76A3FB}" dt="2022-03-22T11:44:24.139" v="868" actId="14100"/>
          <ac:picMkLst>
            <pc:docMk/>
            <pc:sldMk cId="2426029301" sldId="2134959246"/>
            <ac:picMk id="8" creationId="{AD029118-008C-4940-96F2-7F56C1BA798A}"/>
          </ac:picMkLst>
        </pc:picChg>
        <pc:picChg chg="add mod">
          <ac:chgData name="GSVE (Gianluca Stivale)" userId="b2f3af48-7d3d-4911-89cc-4769d0faa1c3" providerId="ADAL" clId="{C09B78CE-C5B8-4347-BDAE-107C9E76A3FB}" dt="2022-03-22T11:44:29.873" v="869" actId="1076"/>
          <ac:picMkLst>
            <pc:docMk/>
            <pc:sldMk cId="2426029301" sldId="2134959246"/>
            <ac:picMk id="1026" creationId="{8257931A-FCBC-4A01-A16A-A013BAA14215}"/>
          </ac:picMkLst>
        </pc:picChg>
        <pc:cxnChg chg="del">
          <ac:chgData name="GSVE (Gianluca Stivale)" userId="b2f3af48-7d3d-4911-89cc-4769d0faa1c3" providerId="ADAL" clId="{C09B78CE-C5B8-4347-BDAE-107C9E76A3FB}" dt="2022-03-22T11:21:16.308" v="535" actId="478"/>
          <ac:cxnSpMkLst>
            <pc:docMk/>
            <pc:sldMk cId="2426029301" sldId="2134959246"/>
            <ac:cxnSpMk id="16" creationId="{3E9B9B50-A04B-44CC-90AC-F8CE2686E463}"/>
          </ac:cxnSpMkLst>
        </pc:cxnChg>
      </pc:sldChg>
      <pc:sldChg chg="addSp delSp modSp add mod ord">
        <pc:chgData name="GSVE (Gianluca Stivale)" userId="b2f3af48-7d3d-4911-89cc-4769d0faa1c3" providerId="ADAL" clId="{C09B78CE-C5B8-4347-BDAE-107C9E76A3FB}" dt="2022-03-22T15:19:06.716" v="1022"/>
        <pc:sldMkLst>
          <pc:docMk/>
          <pc:sldMk cId="2503549136" sldId="2134959247"/>
        </pc:sldMkLst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10" creationId="{1D841BA2-314A-42A1-B385-91EF64407A60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9" creationId="{8C5B8F89-D595-49BC-8D7B-106DD03D3E12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20" creationId="{12B3EFB9-7A2D-498A-A7AB-0C59BA6F17DD}"/>
          </ac:spMkLst>
        </pc:spChg>
        <pc:spChg chg="add del">
          <ac:chgData name="GSVE (Gianluca Stivale)" userId="b2f3af48-7d3d-4911-89cc-4769d0faa1c3" providerId="ADAL" clId="{C09B78CE-C5B8-4347-BDAE-107C9E76A3FB}" dt="2022-03-22T15:03:59.435" v="894" actId="478"/>
          <ac:spMkLst>
            <pc:docMk/>
            <pc:sldMk cId="2503549136" sldId="2134959247"/>
            <ac:spMk id="22" creationId="{411DA5DF-ED6C-40C8-87B6-EE10ADBA4311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28" creationId="{C40EBB43-9A37-42E5-8A6C-649AE16F271D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32" creationId="{AEC8481F-709F-4BF0-9544-4DAE543A28CC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34" creationId="{6031FA71-9FF4-48D3-8853-4F92BE155D6E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36" creationId="{3109109D-0E50-48D6-B90C-4CFA5B1B8D81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38" creationId="{C747857C-731D-484D-AFA9-70D9E60F3160}"/>
          </ac:spMkLst>
        </pc:spChg>
        <pc:spChg chg="add mod">
          <ac:chgData name="GSVE (Gianluca Stivale)" userId="b2f3af48-7d3d-4911-89cc-4769d0faa1c3" providerId="ADAL" clId="{C09B78CE-C5B8-4347-BDAE-107C9E76A3FB}" dt="2022-03-22T15:16:00.074" v="1011" actId="1076"/>
          <ac:spMkLst>
            <pc:docMk/>
            <pc:sldMk cId="2503549136" sldId="2134959247"/>
            <ac:spMk id="39" creationId="{EFE5689E-1A42-4580-A5DB-39057DD0478F}"/>
          </ac:spMkLst>
        </pc:spChg>
        <pc:spChg chg="add del mod">
          <ac:chgData name="GSVE (Gianluca Stivale)" userId="b2f3af48-7d3d-4911-89cc-4769d0faa1c3" providerId="ADAL" clId="{C09B78CE-C5B8-4347-BDAE-107C9E76A3FB}" dt="2022-03-22T15:15:19.560" v="997" actId="478"/>
          <ac:spMkLst>
            <pc:docMk/>
            <pc:sldMk cId="2503549136" sldId="2134959247"/>
            <ac:spMk id="40" creationId="{5BE7D259-9702-4CF2-96F9-C651C60C18CA}"/>
          </ac:spMkLst>
        </pc:spChg>
        <pc:spChg chg="add del mod">
          <ac:chgData name="GSVE (Gianluca Stivale)" userId="b2f3af48-7d3d-4911-89cc-4769d0faa1c3" providerId="ADAL" clId="{C09B78CE-C5B8-4347-BDAE-107C9E76A3FB}" dt="2022-03-22T15:14:19.980" v="987"/>
          <ac:spMkLst>
            <pc:docMk/>
            <pc:sldMk cId="2503549136" sldId="2134959247"/>
            <ac:spMk id="41" creationId="{0E67F11E-6075-4BD6-92C3-9FD099DC1F0F}"/>
          </ac:spMkLst>
        </pc:spChg>
        <pc:spChg chg="add del mod">
          <ac:chgData name="GSVE (Gianluca Stivale)" userId="b2f3af48-7d3d-4911-89cc-4769d0faa1c3" providerId="ADAL" clId="{C09B78CE-C5B8-4347-BDAE-107C9E76A3FB}" dt="2022-03-22T15:15:55.824" v="1010" actId="478"/>
          <ac:spMkLst>
            <pc:docMk/>
            <pc:sldMk cId="2503549136" sldId="2134959247"/>
            <ac:spMk id="43" creationId="{525B6CDF-919D-4C65-BBA6-03B12B09316B}"/>
          </ac:spMkLst>
        </pc:spChg>
        <pc:spChg chg="add mod">
          <ac:chgData name="GSVE (Gianluca Stivale)" userId="b2f3af48-7d3d-4911-89cc-4769d0faa1c3" providerId="ADAL" clId="{C09B78CE-C5B8-4347-BDAE-107C9E76A3FB}" dt="2022-03-22T15:16:36.908" v="1019" actId="14100"/>
          <ac:spMkLst>
            <pc:docMk/>
            <pc:sldMk cId="2503549136" sldId="2134959247"/>
            <ac:spMk id="44" creationId="{18ADB0E2-E672-4893-9717-BFF07E20ADA3}"/>
          </ac:spMkLst>
        </pc:spChg>
        <pc:spChg chg="mod">
          <ac:chgData name="GSVE (Gianluca Stivale)" userId="b2f3af48-7d3d-4911-89cc-4769d0faa1c3" providerId="ADAL" clId="{C09B78CE-C5B8-4347-BDAE-107C9E76A3FB}" dt="2022-03-22T15:15:53.300" v="1009" actId="207"/>
          <ac:spMkLst>
            <pc:docMk/>
            <pc:sldMk cId="2503549136" sldId="2134959247"/>
            <ac:spMk id="116" creationId="{C9355F9E-92DC-4B67-BEA6-FC8CF33B7F82}"/>
          </ac:spMkLst>
        </pc:spChg>
        <pc:spChg chg="mod">
          <ac:chgData name="GSVE (Gianluca Stivale)" userId="b2f3af48-7d3d-4911-89cc-4769d0faa1c3" providerId="ADAL" clId="{C09B78CE-C5B8-4347-BDAE-107C9E76A3FB}" dt="2022-03-22T15:05:50.146" v="918"/>
          <ac:spMkLst>
            <pc:docMk/>
            <pc:sldMk cId="2503549136" sldId="2134959247"/>
            <ac:spMk id="117" creationId="{7F301B0F-28E0-48EE-81A2-89E2A137E30F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25" creationId="{BAA437AE-95CE-4944-9495-447266943E55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26" creationId="{A35604EB-239A-4E07-8B5E-634243E3FA4B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27" creationId="{EA91B4A5-6055-4826-AB1B-DF46B3FF37CB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28" creationId="{504F6DC8-C3FF-4D7F-BDB5-F234BB193EB1}"/>
          </ac:spMkLst>
        </pc:spChg>
        <pc:spChg chg="del">
          <ac:chgData name="GSVE (Gianluca Stivale)" userId="b2f3af48-7d3d-4911-89cc-4769d0faa1c3" providerId="ADAL" clId="{C09B78CE-C5B8-4347-BDAE-107C9E76A3FB}" dt="2022-03-22T15:03:50.087" v="891" actId="478"/>
          <ac:spMkLst>
            <pc:docMk/>
            <pc:sldMk cId="2503549136" sldId="2134959247"/>
            <ac:spMk id="129" creationId="{49D48A98-61BD-4A45-8F73-1C99B2869A8D}"/>
          </ac:spMkLst>
        </pc:spChg>
        <pc:grpChg chg="del">
          <ac:chgData name="GSVE (Gianluca Stivale)" userId="b2f3af48-7d3d-4911-89cc-4769d0faa1c3" providerId="ADAL" clId="{C09B78CE-C5B8-4347-BDAE-107C9E76A3FB}" dt="2022-03-22T15:03:50.087" v="891" actId="478"/>
          <ac:grpSpMkLst>
            <pc:docMk/>
            <pc:sldMk cId="2503549136" sldId="2134959247"/>
            <ac:grpSpMk id="118" creationId="{C676B41E-0743-4DB0-9FF0-DB87C8B06A55}"/>
          </ac:grpSpMkLst>
        </pc:grpChg>
        <pc:picChg chg="add del">
          <ac:chgData name="GSVE (Gianluca Stivale)" userId="b2f3af48-7d3d-4911-89cc-4769d0faa1c3" providerId="ADAL" clId="{C09B78CE-C5B8-4347-BDAE-107C9E76A3FB}" dt="2022-03-22T15:07:59.261" v="920" actId="22"/>
          <ac:picMkLst>
            <pc:docMk/>
            <pc:sldMk cId="2503549136" sldId="2134959247"/>
            <ac:picMk id="4" creationId="{9D78A7B1-124A-4568-A024-54F781520703}"/>
          </ac:picMkLst>
        </pc:picChg>
        <pc:picChg chg="add del mod modCrop">
          <ac:chgData name="GSVE (Gianluca Stivale)" userId="b2f3af48-7d3d-4911-89cc-4769d0faa1c3" providerId="ADAL" clId="{C09B78CE-C5B8-4347-BDAE-107C9E76A3FB}" dt="2022-03-22T15:10:42.833" v="938" actId="478"/>
          <ac:picMkLst>
            <pc:docMk/>
            <pc:sldMk cId="2503549136" sldId="2134959247"/>
            <ac:picMk id="6" creationId="{0FBE1CE7-1544-415D-BD7E-1E0D4A8F1CC5}"/>
          </ac:picMkLst>
        </pc:picChg>
        <pc:picChg chg="add mod modCrop">
          <ac:chgData name="GSVE (Gianluca Stivale)" userId="b2f3af48-7d3d-4911-89cc-4769d0faa1c3" providerId="ADAL" clId="{C09B78CE-C5B8-4347-BDAE-107C9E76A3FB}" dt="2022-03-22T15:16:44.256" v="1020" actId="14861"/>
          <ac:picMkLst>
            <pc:docMk/>
            <pc:sldMk cId="2503549136" sldId="2134959247"/>
            <ac:picMk id="9" creationId="{D3EC5EEE-8423-46A7-A00D-AA222B7C5E2D}"/>
          </ac:picMkLst>
        </pc:picChg>
        <pc:picChg chg="mod">
          <ac:chgData name="GSVE (Gianluca Stivale)" userId="b2f3af48-7d3d-4911-89cc-4769d0faa1c3" providerId="ADAL" clId="{C09B78CE-C5B8-4347-BDAE-107C9E76A3FB}" dt="2022-03-22T15:16:05.717" v="1013" actId="1076"/>
          <ac:picMkLst>
            <pc:docMk/>
            <pc:sldMk cId="2503549136" sldId="2134959247"/>
            <ac:picMk id="130" creationId="{17B8B4FB-27CC-4699-8FE5-AFEF934DDC82}"/>
          </ac:picMkLst>
        </pc:picChg>
      </pc:sldChg>
      <pc:sldChg chg="mod modShow">
        <pc:chgData name="GSVE (Gianluca Stivale)" userId="b2f3af48-7d3d-4911-89cc-4769d0faa1c3" providerId="ADAL" clId="{C09B78CE-C5B8-4347-BDAE-107C9E76A3FB}" dt="2022-03-22T15:30:16.678" v="1029" actId="729"/>
        <pc:sldMkLst>
          <pc:docMk/>
          <pc:sldMk cId="3799928249" sldId="2134959248"/>
        </pc:sldMkLst>
      </pc:sldChg>
      <pc:sldMasterChg chg="delSldLayout">
        <pc:chgData name="GSVE (Gianluca Stivale)" userId="b2f3af48-7d3d-4911-89cc-4769d0faa1c3" providerId="ADAL" clId="{C09B78CE-C5B8-4347-BDAE-107C9E76A3FB}" dt="2022-03-22T11:45:23.318" v="873" actId="47"/>
        <pc:sldMasterMkLst>
          <pc:docMk/>
          <pc:sldMasterMk cId="180999990" sldId="2147483648"/>
        </pc:sldMasterMkLst>
        <pc:sldLayoutChg chg="del">
          <pc:chgData name="GSVE (Gianluca Stivale)" userId="b2f3af48-7d3d-4911-89cc-4769d0faa1c3" providerId="ADAL" clId="{C09B78CE-C5B8-4347-BDAE-107C9E76A3FB}" dt="2022-03-22T11:45:23.318" v="873" actId="47"/>
          <pc:sldLayoutMkLst>
            <pc:docMk/>
            <pc:sldMasterMk cId="180999990" sldId="2147483648"/>
            <pc:sldLayoutMk cId="3456992486" sldId="2147484046"/>
          </pc:sldLayoutMkLst>
        </pc:sldLayoutChg>
      </pc:sldMasterChg>
      <pc:sldMasterChg chg="add del addSldLayout delSldLayout">
        <pc:chgData name="GSVE (Gianluca Stivale)" userId="b2f3af48-7d3d-4911-89cc-4769d0faa1c3" providerId="ADAL" clId="{C09B78CE-C5B8-4347-BDAE-107C9E76A3FB}" dt="2022-03-22T10:20:30.394" v="344" actId="2696"/>
        <pc:sldMasterMkLst>
          <pc:docMk/>
          <pc:sldMasterMk cId="363477198" sldId="2147484067"/>
        </pc:sldMasterMkLst>
        <pc:sldLayoutChg chg="add del">
          <pc:chgData name="GSVE (Gianluca Stivale)" userId="b2f3af48-7d3d-4911-89cc-4769d0faa1c3" providerId="ADAL" clId="{C09B78CE-C5B8-4347-BDAE-107C9E76A3FB}" dt="2022-03-22T10:20:30.394" v="344" actId="2696"/>
          <pc:sldLayoutMkLst>
            <pc:docMk/>
            <pc:sldMasterMk cId="363477198" sldId="2147484067"/>
            <pc:sldLayoutMk cId="2247058035" sldId="2147484068"/>
          </pc:sldLayoutMkLst>
        </pc:sldLayoutChg>
        <pc:sldLayoutChg chg="add del">
          <pc:chgData name="GSVE (Gianluca Stivale)" userId="b2f3af48-7d3d-4911-89cc-4769d0faa1c3" providerId="ADAL" clId="{C09B78CE-C5B8-4347-BDAE-107C9E76A3FB}" dt="2022-03-22T10:20:30.394" v="344" actId="2696"/>
          <pc:sldLayoutMkLst>
            <pc:docMk/>
            <pc:sldMasterMk cId="363477198" sldId="2147484067"/>
            <pc:sldLayoutMk cId="1105204454" sldId="2147484069"/>
          </pc:sldLayoutMkLst>
        </pc:sldLayoutChg>
        <pc:sldLayoutChg chg="add del">
          <pc:chgData name="GSVE (Gianluca Stivale)" userId="b2f3af48-7d3d-4911-89cc-4769d0faa1c3" providerId="ADAL" clId="{C09B78CE-C5B8-4347-BDAE-107C9E76A3FB}" dt="2022-03-22T10:20:30.394" v="344" actId="2696"/>
          <pc:sldLayoutMkLst>
            <pc:docMk/>
            <pc:sldMasterMk cId="363477198" sldId="2147484067"/>
            <pc:sldLayoutMk cId="3438752207" sldId="2147484070"/>
          </pc:sldLayoutMkLst>
        </pc:sldLayoutChg>
      </pc:sldMasterChg>
    </pc:docChg>
  </pc:docChgLst>
  <pc:docChgLst>
    <pc:chgData name="Gianluca" userId="b2f3af48-7d3d-4911-89cc-4769d0faa1c3" providerId="ADAL" clId="{290A5970-1EBC-46B0-9CEE-3B2A29DCBD00}"/>
    <pc:docChg chg="undo custSel addSld delSld modSld">
      <pc:chgData name="Gianluca" userId="b2f3af48-7d3d-4911-89cc-4769d0faa1c3" providerId="ADAL" clId="{290A5970-1EBC-46B0-9CEE-3B2A29DCBD00}" dt="2022-01-28T18:55:35.883" v="817" actId="47"/>
      <pc:docMkLst>
        <pc:docMk/>
      </pc:docMkLst>
      <pc:sldChg chg="addSp modSp mod">
        <pc:chgData name="Gianluca" userId="b2f3af48-7d3d-4911-89cc-4769d0faa1c3" providerId="ADAL" clId="{290A5970-1EBC-46B0-9CEE-3B2A29DCBD00}" dt="2022-01-28T18:25:14.515" v="814" actId="1038"/>
        <pc:sldMkLst>
          <pc:docMk/>
          <pc:sldMk cId="613330978" sldId="278"/>
        </pc:sldMkLst>
        <pc:spChg chg="add mod">
          <ac:chgData name="Gianluca" userId="b2f3af48-7d3d-4911-89cc-4769d0faa1c3" providerId="ADAL" clId="{290A5970-1EBC-46B0-9CEE-3B2A29DCBD00}" dt="2022-01-28T18:25:14.515" v="814" actId="1038"/>
          <ac:spMkLst>
            <pc:docMk/>
            <pc:sldMk cId="613330978" sldId="278"/>
            <ac:spMk id="27" creationId="{6685A116-1B30-4BEE-A4D8-20E656307538}"/>
          </ac:spMkLst>
        </pc:spChg>
      </pc:sldChg>
      <pc:sldChg chg="add">
        <pc:chgData name="Gianluca" userId="b2f3af48-7d3d-4911-89cc-4769d0faa1c3" providerId="ADAL" clId="{290A5970-1EBC-46B0-9CEE-3B2A29DCBD00}" dt="2022-01-28T08:15:57.886" v="2"/>
        <pc:sldMkLst>
          <pc:docMk/>
          <pc:sldMk cId="2271115715" sldId="283"/>
        </pc:sldMkLst>
      </pc:sldChg>
      <pc:sldChg chg="modNotesTx">
        <pc:chgData name="Gianluca" userId="b2f3af48-7d3d-4911-89cc-4769d0faa1c3" providerId="ADAL" clId="{290A5970-1EBC-46B0-9CEE-3B2A29DCBD00}" dt="2022-01-28T09:32:21.491" v="799" actId="20577"/>
        <pc:sldMkLst>
          <pc:docMk/>
          <pc:sldMk cId="1446162811" sldId="1152"/>
        </pc:sldMkLst>
      </pc:sldChg>
      <pc:sldChg chg="mod modShow">
        <pc:chgData name="Gianluca" userId="b2f3af48-7d3d-4911-89cc-4769d0faa1c3" providerId="ADAL" clId="{290A5970-1EBC-46B0-9CEE-3B2A29DCBD00}" dt="2022-01-28T18:17:58.123" v="806" actId="729"/>
        <pc:sldMkLst>
          <pc:docMk/>
          <pc:sldMk cId="2309483073" sldId="1228"/>
        </pc:sldMkLst>
      </pc:sldChg>
      <pc:sldChg chg="addSp modSp modAnim">
        <pc:chgData name="Gianluca" userId="b2f3af48-7d3d-4911-89cc-4769d0faa1c3" providerId="ADAL" clId="{290A5970-1EBC-46B0-9CEE-3B2A29DCBD00}" dt="2022-01-28T18:34:12.763" v="815"/>
        <pc:sldMkLst>
          <pc:docMk/>
          <pc:sldMk cId="1601230446" sldId="3583"/>
        </pc:sldMkLst>
        <pc:picChg chg="add mod">
          <ac:chgData name="Gianluca" userId="b2f3af48-7d3d-4911-89cc-4769d0faa1c3" providerId="ADAL" clId="{290A5970-1EBC-46B0-9CEE-3B2A29DCBD00}" dt="2022-01-28T18:34:12.763" v="815"/>
          <ac:picMkLst>
            <pc:docMk/>
            <pc:sldMk cId="1601230446" sldId="3583"/>
            <ac:picMk id="112" creationId="{E5CE4F4E-4B26-4D23-ACE7-17C26B9518D6}"/>
          </ac:picMkLst>
        </pc:picChg>
      </pc:sldChg>
      <pc:sldChg chg="add">
        <pc:chgData name="Gianluca" userId="b2f3af48-7d3d-4911-89cc-4769d0faa1c3" providerId="ADAL" clId="{290A5970-1EBC-46B0-9CEE-3B2A29DCBD00}" dt="2022-01-28T08:34:49.929" v="5"/>
        <pc:sldMkLst>
          <pc:docMk/>
          <pc:sldMk cId="3181971256" sldId="2096975783"/>
        </pc:sldMkLst>
      </pc:sldChg>
      <pc:sldChg chg="mod modShow">
        <pc:chgData name="Gianluca" userId="b2f3af48-7d3d-4911-89cc-4769d0faa1c3" providerId="ADAL" clId="{290A5970-1EBC-46B0-9CEE-3B2A29DCBD00}" dt="2022-01-28T08:08:24.364" v="0" actId="729"/>
        <pc:sldMkLst>
          <pc:docMk/>
          <pc:sldMk cId="670756325" sldId="2096975867"/>
        </pc:sldMkLst>
      </pc:sldChg>
      <pc:sldChg chg="add">
        <pc:chgData name="Gianluca" userId="b2f3af48-7d3d-4911-89cc-4769d0faa1c3" providerId="ADAL" clId="{290A5970-1EBC-46B0-9CEE-3B2A29DCBD00}" dt="2022-01-28T08:15:57.886" v="2"/>
        <pc:sldMkLst>
          <pc:docMk/>
          <pc:sldMk cId="2377549629" sldId="2134804676"/>
        </pc:sldMkLst>
      </pc:sldChg>
      <pc:sldChg chg="addSp modSp add">
        <pc:chgData name="Gianluca" userId="b2f3af48-7d3d-4911-89cc-4769d0faa1c3" providerId="ADAL" clId="{290A5970-1EBC-46B0-9CEE-3B2A29DCBD00}" dt="2022-01-28T08:18:09.069" v="3"/>
        <pc:sldMkLst>
          <pc:docMk/>
          <pc:sldMk cId="2897641825" sldId="2134804677"/>
        </pc:sldMkLst>
        <pc:picChg chg="add mod">
          <ac:chgData name="Gianluca" userId="b2f3af48-7d3d-4911-89cc-4769d0faa1c3" providerId="ADAL" clId="{290A5970-1EBC-46B0-9CEE-3B2A29DCBD00}" dt="2022-01-28T08:18:09.069" v="3"/>
          <ac:picMkLst>
            <pc:docMk/>
            <pc:sldMk cId="2897641825" sldId="2134804677"/>
            <ac:picMk id="35" creationId="{882BE338-3E2F-4BBD-A0C4-D847A358D8B3}"/>
          </ac:picMkLst>
        </pc:pic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36" creationId="{EF20FB4C-3A54-4FA4-9704-44F5A999BF07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37" creationId="{9737FE67-04BE-4558-AFF5-69B209426F4C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48" creationId="{9DD07AA6-4181-4264-9B81-1D9C4E6268AB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49" creationId="{5B39D2E7-8B03-42D7-8228-6295A55DAA8B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50" creationId="{6BBAA20B-9E59-4F85-B493-71E7EE9DB4B3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51" creationId="{F4CF9657-A74E-4F34-B0FA-4DA1618435DC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52" creationId="{97207CAE-678D-49CA-AF07-36082C831276}"/>
          </ac:cxnSpMkLst>
        </pc:cxnChg>
        <pc:cxnChg chg="add mod">
          <ac:chgData name="Gianluca" userId="b2f3af48-7d3d-4911-89cc-4769d0faa1c3" providerId="ADAL" clId="{290A5970-1EBC-46B0-9CEE-3B2A29DCBD00}" dt="2022-01-28T08:18:09.069" v="3"/>
          <ac:cxnSpMkLst>
            <pc:docMk/>
            <pc:sldMk cId="2897641825" sldId="2134804677"/>
            <ac:cxnSpMk id="53" creationId="{5F834A3E-C34C-4CB4-9717-9005A80048DE}"/>
          </ac:cxnSpMkLst>
        </pc:cxnChg>
      </pc:sldChg>
      <pc:sldChg chg="add">
        <pc:chgData name="Gianluca" userId="b2f3af48-7d3d-4911-89cc-4769d0faa1c3" providerId="ADAL" clId="{290A5970-1EBC-46B0-9CEE-3B2A29DCBD00}" dt="2022-01-28T08:35:34.726" v="7"/>
        <pc:sldMkLst>
          <pc:docMk/>
          <pc:sldMk cId="727723115" sldId="2134805482"/>
        </pc:sldMkLst>
      </pc:sldChg>
      <pc:sldChg chg="mod modShow">
        <pc:chgData name="Gianluca" userId="b2f3af48-7d3d-4911-89cc-4769d0faa1c3" providerId="ADAL" clId="{290A5970-1EBC-46B0-9CEE-3B2A29DCBD00}" dt="2022-01-28T18:18:50.710" v="807" actId="729"/>
        <pc:sldMkLst>
          <pc:docMk/>
          <pc:sldMk cId="2736193517" sldId="2134959177"/>
        </pc:sldMkLst>
      </pc:sldChg>
      <pc:sldChg chg="del">
        <pc:chgData name="Gianluca" userId="b2f3af48-7d3d-4911-89cc-4769d0faa1c3" providerId="ADAL" clId="{290A5970-1EBC-46B0-9CEE-3B2A29DCBD00}" dt="2022-01-28T16:49:14.050" v="802" actId="47"/>
        <pc:sldMkLst>
          <pc:docMk/>
          <pc:sldMk cId="2390451640" sldId="2134959183"/>
        </pc:sldMkLst>
      </pc:sldChg>
      <pc:sldChg chg="add del">
        <pc:chgData name="Gianluca" userId="b2f3af48-7d3d-4911-89cc-4769d0faa1c3" providerId="ADAL" clId="{290A5970-1EBC-46B0-9CEE-3B2A29DCBD00}" dt="2022-01-28T08:34:52.145" v="6" actId="47"/>
        <pc:sldMkLst>
          <pc:docMk/>
          <pc:sldMk cId="3489663291" sldId="2134959193"/>
        </pc:sldMkLst>
      </pc:sldChg>
      <pc:sldChg chg="add">
        <pc:chgData name="Gianluca" userId="b2f3af48-7d3d-4911-89cc-4769d0faa1c3" providerId="ADAL" clId="{290A5970-1EBC-46B0-9CEE-3B2A29DCBD00}" dt="2022-01-28T08:34:49.929" v="5"/>
        <pc:sldMkLst>
          <pc:docMk/>
          <pc:sldMk cId="1357007381" sldId="2134959194"/>
        </pc:sldMkLst>
      </pc:sldChg>
      <pc:sldChg chg="addSp delSp modSp add mod modAnim modNotesTx">
        <pc:chgData name="Gianluca" userId="b2f3af48-7d3d-4911-89cc-4769d0faa1c3" providerId="ADAL" clId="{290A5970-1EBC-46B0-9CEE-3B2A29DCBD00}" dt="2022-01-28T16:49:20.932" v="805" actId="1035"/>
        <pc:sldMkLst>
          <pc:docMk/>
          <pc:sldMk cId="2614460175" sldId="2134959195"/>
        </pc:sldMkLst>
        <pc:spChg chg="add mod ord">
          <ac:chgData name="Gianluca" userId="b2f3af48-7d3d-4911-89cc-4769d0faa1c3" providerId="ADAL" clId="{290A5970-1EBC-46B0-9CEE-3B2A29DCBD00}" dt="2022-01-28T16:49:08.764" v="801" actId="1037"/>
          <ac:spMkLst>
            <pc:docMk/>
            <pc:sldMk cId="2614460175" sldId="2134959195"/>
            <ac:spMk id="6" creationId="{87874F21-ADF6-433B-879E-A242213CA4C8}"/>
          </ac:spMkLst>
        </pc:spChg>
        <pc:spChg chg="add del mod">
          <ac:chgData name="Gianluca" userId="b2f3af48-7d3d-4911-89cc-4769d0faa1c3" providerId="ADAL" clId="{290A5970-1EBC-46B0-9CEE-3B2A29DCBD00}" dt="2022-01-28T09:06:21.997" v="46" actId="478"/>
          <ac:spMkLst>
            <pc:docMk/>
            <pc:sldMk cId="2614460175" sldId="2134959195"/>
            <ac:spMk id="14" creationId="{9753C23A-2640-4A62-A58B-D4357DB95456}"/>
          </ac:spMkLst>
        </pc:spChg>
        <pc:spChg chg="add mod ord">
          <ac:chgData name="Gianluca" userId="b2f3af48-7d3d-4911-89cc-4769d0faa1c3" providerId="ADAL" clId="{290A5970-1EBC-46B0-9CEE-3B2A29DCBD00}" dt="2022-01-28T09:16:50.877" v="559" actId="166"/>
          <ac:spMkLst>
            <pc:docMk/>
            <pc:sldMk cId="2614460175" sldId="2134959195"/>
            <ac:spMk id="15" creationId="{7A43F7B6-556B-4011-8EC5-DEF4EC8C842F}"/>
          </ac:spMkLst>
        </pc:spChg>
        <pc:spChg chg="mod">
          <ac:chgData name="Gianluca" userId="b2f3af48-7d3d-4911-89cc-4769d0faa1c3" providerId="ADAL" clId="{290A5970-1EBC-46B0-9CEE-3B2A29DCBD00}" dt="2022-01-28T16:49:20.932" v="805" actId="1035"/>
          <ac:spMkLst>
            <pc:docMk/>
            <pc:sldMk cId="2614460175" sldId="2134959195"/>
            <ac:spMk id="38" creationId="{4A2B2C35-DCB4-4466-A475-8565D47A9751}"/>
          </ac:spMkLst>
        </pc:spChg>
        <pc:spChg chg="mod">
          <ac:chgData name="Gianluca" userId="b2f3af48-7d3d-4911-89cc-4769d0faa1c3" providerId="ADAL" clId="{290A5970-1EBC-46B0-9CEE-3B2A29DCBD00}" dt="2022-01-28T09:07:20.772" v="58" actId="20577"/>
          <ac:spMkLst>
            <pc:docMk/>
            <pc:sldMk cId="2614460175" sldId="2134959195"/>
            <ac:spMk id="39" creationId="{909F86D3-AE10-4EF4-84D1-0A28193EFD0B}"/>
          </ac:spMkLst>
        </pc:spChg>
        <pc:spChg chg="ord">
          <ac:chgData name="Gianluca" userId="b2f3af48-7d3d-4911-89cc-4769d0faa1c3" providerId="ADAL" clId="{290A5970-1EBC-46B0-9CEE-3B2A29DCBD00}" dt="2022-01-28T09:16:57.644" v="561" actId="166"/>
          <ac:spMkLst>
            <pc:docMk/>
            <pc:sldMk cId="2614460175" sldId="2134959195"/>
            <ac:spMk id="42" creationId="{64DE2BC7-24A2-44B9-8BEF-C293E63AC444}"/>
          </ac:spMkLst>
        </pc:spChg>
        <pc:picChg chg="add mod ord modCrop">
          <ac:chgData name="Gianluca" userId="b2f3af48-7d3d-4911-89cc-4769d0faa1c3" providerId="ADAL" clId="{290A5970-1EBC-46B0-9CEE-3B2A29DCBD00}" dt="2022-01-28T09:16:24.867" v="556" actId="167"/>
          <ac:picMkLst>
            <pc:docMk/>
            <pc:sldMk cId="2614460175" sldId="2134959195"/>
            <ac:picMk id="5" creationId="{95CF4A75-B5F4-43B1-9ED3-C41DB10ACF92}"/>
          </ac:picMkLst>
        </pc:picChg>
      </pc:sldChg>
      <pc:sldChg chg="new del">
        <pc:chgData name="Gianluca" userId="b2f3af48-7d3d-4911-89cc-4769d0faa1c3" providerId="ADAL" clId="{290A5970-1EBC-46B0-9CEE-3B2A29DCBD00}" dt="2022-01-28T18:55:35.883" v="817" actId="47"/>
        <pc:sldMkLst>
          <pc:docMk/>
          <pc:sldMk cId="1143181407" sldId="2134959196"/>
        </pc:sldMkLst>
      </pc:sldChg>
    </pc:docChg>
  </pc:docChgLst>
  <pc:docChgLst>
    <pc:chgData name="GSVE (Gianluca Stivale)" userId="b2f3af48-7d3d-4911-89cc-4769d0faa1c3" providerId="ADAL" clId="{A69D1CC3-CC99-4E10-BBB2-CE6DA348629D}"/>
    <pc:docChg chg="undo redo custSel addSld delSld modSld sldOrd">
      <pc:chgData name="GSVE (Gianluca Stivale)" userId="b2f3af48-7d3d-4911-89cc-4769d0faa1c3" providerId="ADAL" clId="{A69D1CC3-CC99-4E10-BBB2-CE6DA348629D}" dt="2021-12-21T10:53:04.765" v="17089"/>
      <pc:docMkLst>
        <pc:docMk/>
      </pc:docMkLst>
      <pc:sldChg chg="addSp delSp modSp add mod modNotesTx">
        <pc:chgData name="GSVE (Gianluca Stivale)" userId="b2f3af48-7d3d-4911-89cc-4769d0faa1c3" providerId="ADAL" clId="{A69D1CC3-CC99-4E10-BBB2-CE6DA348629D}" dt="2021-12-17T09:27:08.029" v="7240" actId="20577"/>
        <pc:sldMkLst>
          <pc:docMk/>
          <pc:sldMk cId="3598511070" sldId="265"/>
        </pc:sldMkLst>
        <pc:spChg chg="mod">
          <ac:chgData name="GSVE (Gianluca Stivale)" userId="b2f3af48-7d3d-4911-89cc-4769d0faa1c3" providerId="ADAL" clId="{A69D1CC3-CC99-4E10-BBB2-CE6DA348629D}" dt="2021-12-15T20:18:22.797" v="2498" actId="1076"/>
          <ac:spMkLst>
            <pc:docMk/>
            <pc:sldMk cId="3598511070" sldId="265"/>
            <ac:spMk id="3" creationId="{43FF7D07-244D-4AD8-A533-938BDBF811F4}"/>
          </ac:spMkLst>
        </pc:spChg>
        <pc:spChg chg="add del">
          <ac:chgData name="GSVE (Gianluca Stivale)" userId="b2f3af48-7d3d-4911-89cc-4769d0faa1c3" providerId="ADAL" clId="{A69D1CC3-CC99-4E10-BBB2-CE6DA348629D}" dt="2021-12-15T20:17:59.543" v="2496" actId="478"/>
          <ac:spMkLst>
            <pc:docMk/>
            <pc:sldMk cId="3598511070" sldId="265"/>
            <ac:spMk id="6" creationId="{FF8EB31A-3EAD-4633-8FD5-777A5EEC66C3}"/>
          </ac:spMkLst>
        </pc:spChg>
        <pc:spChg chg="mod">
          <ac:chgData name="GSVE (Gianluca Stivale)" userId="b2f3af48-7d3d-4911-89cc-4769d0faa1c3" providerId="ADAL" clId="{A69D1CC3-CC99-4E10-BBB2-CE6DA348629D}" dt="2021-12-15T20:18:04.324" v="2497" actId="14100"/>
          <ac:spMkLst>
            <pc:docMk/>
            <pc:sldMk cId="3598511070" sldId="265"/>
            <ac:spMk id="7" creationId="{CF38CB3E-62AC-40BE-824F-4BC7B7B78215}"/>
          </ac:spMkLst>
        </pc:spChg>
        <pc:spChg chg="mod">
          <ac:chgData name="GSVE (Gianluca Stivale)" userId="b2f3af48-7d3d-4911-89cc-4769d0faa1c3" providerId="ADAL" clId="{A69D1CC3-CC99-4E10-BBB2-CE6DA348629D}" dt="2021-12-15T20:18:22.797" v="2498" actId="1076"/>
          <ac:spMkLst>
            <pc:docMk/>
            <pc:sldMk cId="3598511070" sldId="265"/>
            <ac:spMk id="10" creationId="{F8826CA8-AAB7-4C74-A127-D44D838C3D24}"/>
          </ac:spMkLst>
        </pc:spChg>
      </pc:sldChg>
      <pc:sldChg chg="ord">
        <pc:chgData name="GSVE (Gianluca Stivale)" userId="b2f3af48-7d3d-4911-89cc-4769d0faa1c3" providerId="ADAL" clId="{A69D1CC3-CC99-4E10-BBB2-CE6DA348629D}" dt="2021-12-10T20:56:38.506" v="739"/>
        <pc:sldMkLst>
          <pc:docMk/>
          <pc:sldMk cId="3331359904" sldId="266"/>
        </pc:sldMkLst>
      </pc:sldChg>
      <pc:sldChg chg="ord">
        <pc:chgData name="GSVE (Gianluca Stivale)" userId="b2f3af48-7d3d-4911-89cc-4769d0faa1c3" providerId="ADAL" clId="{A69D1CC3-CC99-4E10-BBB2-CE6DA348629D}" dt="2021-12-10T20:56:38.506" v="739"/>
        <pc:sldMkLst>
          <pc:docMk/>
          <pc:sldMk cId="161052172" sldId="270"/>
        </pc:sldMkLst>
      </pc:sldChg>
      <pc:sldChg chg="add mod modShow">
        <pc:chgData name="GSVE (Gianluca Stivale)" userId="b2f3af48-7d3d-4911-89cc-4769d0faa1c3" providerId="ADAL" clId="{A69D1CC3-CC99-4E10-BBB2-CE6DA348629D}" dt="2021-12-15T14:10:32.853" v="1835" actId="729"/>
        <pc:sldMkLst>
          <pc:docMk/>
          <pc:sldMk cId="3648991668" sldId="273"/>
        </pc:sldMkLst>
      </pc:sldChg>
      <pc:sldChg chg="addSp modSp mod ord">
        <pc:chgData name="GSVE (Gianluca Stivale)" userId="b2f3af48-7d3d-4911-89cc-4769d0faa1c3" providerId="ADAL" clId="{A69D1CC3-CC99-4E10-BBB2-CE6DA348629D}" dt="2021-12-21T09:56:05.315" v="17040" actId="14100"/>
        <pc:sldMkLst>
          <pc:docMk/>
          <pc:sldMk cId="613330978" sldId="278"/>
        </pc:sldMkLst>
        <pc:spChg chg="mod">
          <ac:chgData name="GSVE (Gianluca Stivale)" userId="b2f3af48-7d3d-4911-89cc-4769d0faa1c3" providerId="ADAL" clId="{A69D1CC3-CC99-4E10-BBB2-CE6DA348629D}" dt="2021-12-15T16:35:57.892" v="2027"/>
          <ac:spMkLst>
            <pc:docMk/>
            <pc:sldMk cId="613330978" sldId="278"/>
            <ac:spMk id="13" creationId="{77AD9749-91D7-495F-A9CB-87539046D406}"/>
          </ac:spMkLst>
        </pc:spChg>
        <pc:spChg chg="add mod">
          <ac:chgData name="GSVE (Gianluca Stivale)" userId="b2f3af48-7d3d-4911-89cc-4769d0faa1c3" providerId="ADAL" clId="{A69D1CC3-CC99-4E10-BBB2-CE6DA348629D}" dt="2021-12-21T09:56:05.315" v="17040" actId="14100"/>
          <ac:spMkLst>
            <pc:docMk/>
            <pc:sldMk cId="613330978" sldId="278"/>
            <ac:spMk id="26" creationId="{1ECA3371-6BDD-4060-96A5-5E33C4F64610}"/>
          </ac:spMkLst>
        </pc:spChg>
      </pc:sldChg>
      <pc:sldChg chg="del">
        <pc:chgData name="GSVE (Gianluca Stivale)" userId="b2f3af48-7d3d-4911-89cc-4769d0faa1c3" providerId="ADAL" clId="{A69D1CC3-CC99-4E10-BBB2-CE6DA348629D}" dt="2021-12-10T18:29:18.210" v="2" actId="47"/>
        <pc:sldMkLst>
          <pc:docMk/>
          <pc:sldMk cId="1706181242" sldId="279"/>
        </pc:sldMkLst>
      </pc:sldChg>
      <pc:sldChg chg="del">
        <pc:chgData name="GSVE (Gianluca Stivale)" userId="b2f3af48-7d3d-4911-89cc-4769d0faa1c3" providerId="ADAL" clId="{A69D1CC3-CC99-4E10-BBB2-CE6DA348629D}" dt="2021-12-10T19:42:31.242" v="148" actId="47"/>
        <pc:sldMkLst>
          <pc:docMk/>
          <pc:sldMk cId="2145701540" sldId="311"/>
        </pc:sldMkLst>
      </pc:sldChg>
      <pc:sldChg chg="addSp modSp add mod modShow">
        <pc:chgData name="GSVE (Gianluca Stivale)" userId="b2f3af48-7d3d-4911-89cc-4769d0faa1c3" providerId="ADAL" clId="{A69D1CC3-CC99-4E10-BBB2-CE6DA348629D}" dt="2021-12-20T17:56:59.249" v="17004" actId="729"/>
        <pc:sldMkLst>
          <pc:docMk/>
          <pc:sldMk cId="3597582682" sldId="409"/>
        </pc:sldMkLst>
        <pc:spChg chg="mod">
          <ac:chgData name="GSVE (Gianluca Stivale)" userId="b2f3af48-7d3d-4911-89cc-4769d0faa1c3" providerId="ADAL" clId="{A69D1CC3-CC99-4E10-BBB2-CE6DA348629D}" dt="2021-12-15T08:22:06.440" v="1315" actId="1582"/>
          <ac:spMkLst>
            <pc:docMk/>
            <pc:sldMk cId="3597582682" sldId="409"/>
            <ac:spMk id="2" creationId="{FD2DE17C-AB5A-45E5-AA90-9C526365621B}"/>
          </ac:spMkLst>
        </pc:spChg>
        <pc:spChg chg="mod">
          <ac:chgData name="GSVE (Gianluca Stivale)" userId="b2f3af48-7d3d-4911-89cc-4769d0faa1c3" providerId="ADAL" clId="{A69D1CC3-CC99-4E10-BBB2-CE6DA348629D}" dt="2021-12-15T07:58:09.687" v="1209" actId="20577"/>
          <ac:spMkLst>
            <pc:docMk/>
            <pc:sldMk cId="3597582682" sldId="409"/>
            <ac:spMk id="5" creationId="{00000000-0000-0000-0000-000000000000}"/>
          </ac:spMkLst>
        </pc:spChg>
        <pc:spChg chg="add mod">
          <ac:chgData name="GSVE (Gianluca Stivale)" userId="b2f3af48-7d3d-4911-89cc-4769d0faa1c3" providerId="ADAL" clId="{A69D1CC3-CC99-4E10-BBB2-CE6DA348629D}" dt="2021-12-15T07:59:54.053" v="1212"/>
          <ac:spMkLst>
            <pc:docMk/>
            <pc:sldMk cId="3597582682" sldId="409"/>
            <ac:spMk id="12" creationId="{FED8D8F6-CE7C-40BE-87FF-08A50096D462}"/>
          </ac:spMkLst>
        </pc:spChg>
        <pc:spChg chg="add mod">
          <ac:chgData name="GSVE (Gianluca Stivale)" userId="b2f3af48-7d3d-4911-89cc-4769d0faa1c3" providerId="ADAL" clId="{A69D1CC3-CC99-4E10-BBB2-CE6DA348629D}" dt="2021-12-15T16:36:02.024" v="2028"/>
          <ac:spMkLst>
            <pc:docMk/>
            <pc:sldMk cId="3597582682" sldId="409"/>
            <ac:spMk id="13" creationId="{ED4A82BF-4F8C-4559-8254-6E157380FF7B}"/>
          </ac:spMkLst>
        </pc:spChg>
        <pc:spChg chg="mod">
          <ac:chgData name="GSVE (Gianluca Stivale)" userId="b2f3af48-7d3d-4911-89cc-4769d0faa1c3" providerId="ADAL" clId="{A69D1CC3-CC99-4E10-BBB2-CE6DA348629D}" dt="2021-12-15T16:36:13.724" v="2031" actId="1076"/>
          <ac:spMkLst>
            <pc:docMk/>
            <pc:sldMk cId="3597582682" sldId="409"/>
            <ac:spMk id="26" creationId="{00000000-0000-0000-0000-000000000000}"/>
          </ac:spMkLst>
        </pc:spChg>
      </pc:sldChg>
      <pc:sldChg chg="addSp modSp del mod">
        <pc:chgData name="GSVE (Gianluca Stivale)" userId="b2f3af48-7d3d-4911-89cc-4769d0faa1c3" providerId="ADAL" clId="{A69D1CC3-CC99-4E10-BBB2-CE6DA348629D}" dt="2021-12-16T10:48:18.547" v="2847" actId="47"/>
        <pc:sldMkLst>
          <pc:docMk/>
          <pc:sldMk cId="1910395631" sldId="424"/>
        </pc:sldMkLst>
        <pc:spChg chg="add mod">
          <ac:chgData name="GSVE (Gianluca Stivale)" userId="b2f3af48-7d3d-4911-89cc-4769d0faa1c3" providerId="ADAL" clId="{A69D1CC3-CC99-4E10-BBB2-CE6DA348629D}" dt="2021-12-16T10:36:34.650" v="2804" actId="1076"/>
          <ac:spMkLst>
            <pc:docMk/>
            <pc:sldMk cId="1910395631" sldId="424"/>
            <ac:spMk id="6" creationId="{BD427206-48DB-40AE-B873-2B5545F6EF01}"/>
          </ac:spMkLst>
        </pc:spChg>
        <pc:spChg chg="add mod">
          <ac:chgData name="GSVE (Gianluca Stivale)" userId="b2f3af48-7d3d-4911-89cc-4769d0faa1c3" providerId="ADAL" clId="{A69D1CC3-CC99-4E10-BBB2-CE6DA348629D}" dt="2021-12-16T10:36:42.267" v="2805"/>
          <ac:spMkLst>
            <pc:docMk/>
            <pc:sldMk cId="1910395631" sldId="424"/>
            <ac:spMk id="7" creationId="{B450B7FA-B111-4E25-95C3-31FADE066DC7}"/>
          </ac:spMkLst>
        </pc:spChg>
      </pc:sldChg>
      <pc:sldChg chg="add del">
        <pc:chgData name="GSVE (Gianluca Stivale)" userId="b2f3af48-7d3d-4911-89cc-4769d0faa1c3" providerId="ADAL" clId="{A69D1CC3-CC99-4E10-BBB2-CE6DA348629D}" dt="2021-12-16T14:58:54.971" v="3918" actId="47"/>
        <pc:sldMkLst>
          <pc:docMk/>
          <pc:sldMk cId="442185129" sldId="596"/>
        </pc:sldMkLst>
      </pc:sldChg>
      <pc:sldChg chg="add del">
        <pc:chgData name="GSVE (Gianluca Stivale)" userId="b2f3af48-7d3d-4911-89cc-4769d0faa1c3" providerId="ADAL" clId="{A69D1CC3-CC99-4E10-BBB2-CE6DA348629D}" dt="2021-12-16T14:58:54.971" v="3918" actId="47"/>
        <pc:sldMkLst>
          <pc:docMk/>
          <pc:sldMk cId="135588146" sldId="597"/>
        </pc:sldMkLst>
      </pc:sldChg>
      <pc:sldChg chg="add del">
        <pc:chgData name="GSVE (Gianluca Stivale)" userId="b2f3af48-7d3d-4911-89cc-4769d0faa1c3" providerId="ADAL" clId="{A69D1CC3-CC99-4E10-BBB2-CE6DA348629D}" dt="2021-12-16T14:58:54.971" v="3918" actId="47"/>
        <pc:sldMkLst>
          <pc:docMk/>
          <pc:sldMk cId="1513836353" sldId="605"/>
        </pc:sldMkLst>
      </pc:sldChg>
      <pc:sldChg chg="add del">
        <pc:chgData name="GSVE (Gianluca Stivale)" userId="b2f3af48-7d3d-4911-89cc-4769d0faa1c3" providerId="ADAL" clId="{A69D1CC3-CC99-4E10-BBB2-CE6DA348629D}" dt="2021-12-16T19:29:20.890" v="4382" actId="47"/>
        <pc:sldMkLst>
          <pc:docMk/>
          <pc:sldMk cId="2503000025" sldId="655"/>
        </pc:sldMkLst>
      </pc:sldChg>
      <pc:sldChg chg="add del">
        <pc:chgData name="GSVE (Gianluca Stivale)" userId="b2f3af48-7d3d-4911-89cc-4769d0faa1c3" providerId="ADAL" clId="{A69D1CC3-CC99-4E10-BBB2-CE6DA348629D}" dt="2021-12-16T19:29:21.330" v="4383" actId="47"/>
        <pc:sldMkLst>
          <pc:docMk/>
          <pc:sldMk cId="652244719" sldId="656"/>
        </pc:sldMkLst>
      </pc:sldChg>
      <pc:sldChg chg="add del">
        <pc:chgData name="GSVE (Gianluca Stivale)" userId="b2f3af48-7d3d-4911-89cc-4769d0faa1c3" providerId="ADAL" clId="{A69D1CC3-CC99-4E10-BBB2-CE6DA348629D}" dt="2021-12-16T19:29:24.318" v="4388" actId="47"/>
        <pc:sldMkLst>
          <pc:docMk/>
          <pc:sldMk cId="3393116075" sldId="657"/>
        </pc:sldMkLst>
      </pc:sldChg>
      <pc:sldChg chg="add del">
        <pc:chgData name="GSVE (Gianluca Stivale)" userId="b2f3af48-7d3d-4911-89cc-4769d0faa1c3" providerId="ADAL" clId="{A69D1CC3-CC99-4E10-BBB2-CE6DA348629D}" dt="2021-12-16T19:29:21.762" v="4384" actId="47"/>
        <pc:sldMkLst>
          <pc:docMk/>
          <pc:sldMk cId="1571758226" sldId="658"/>
        </pc:sldMkLst>
      </pc:sldChg>
      <pc:sldChg chg="add del">
        <pc:chgData name="GSVE (Gianluca Stivale)" userId="b2f3af48-7d3d-4911-89cc-4769d0faa1c3" providerId="ADAL" clId="{A69D1CC3-CC99-4E10-BBB2-CE6DA348629D}" dt="2021-12-16T19:29:22.835" v="4386" actId="47"/>
        <pc:sldMkLst>
          <pc:docMk/>
          <pc:sldMk cId="1749867855" sldId="659"/>
        </pc:sldMkLst>
      </pc:sldChg>
      <pc:sldChg chg="add del">
        <pc:chgData name="GSVE (Gianluca Stivale)" userId="b2f3af48-7d3d-4911-89cc-4769d0faa1c3" providerId="ADAL" clId="{A69D1CC3-CC99-4E10-BBB2-CE6DA348629D}" dt="2021-12-16T19:29:23.252" v="4387" actId="47"/>
        <pc:sldMkLst>
          <pc:docMk/>
          <pc:sldMk cId="2601225989" sldId="660"/>
        </pc:sldMkLst>
      </pc:sldChg>
      <pc:sldChg chg="add del">
        <pc:chgData name="GSVE (Gianluca Stivale)" userId="b2f3af48-7d3d-4911-89cc-4769d0faa1c3" providerId="ADAL" clId="{A69D1CC3-CC99-4E10-BBB2-CE6DA348629D}" dt="2021-12-16T19:29:22.264" v="4385" actId="47"/>
        <pc:sldMkLst>
          <pc:docMk/>
          <pc:sldMk cId="1896851202" sldId="661"/>
        </pc:sldMkLst>
      </pc:sldChg>
      <pc:sldChg chg="add del">
        <pc:chgData name="GSVE (Gianluca Stivale)" userId="b2f3af48-7d3d-4911-89cc-4769d0faa1c3" providerId="ADAL" clId="{A69D1CC3-CC99-4E10-BBB2-CE6DA348629D}" dt="2021-12-16T19:29:20.342" v="4381" actId="47"/>
        <pc:sldMkLst>
          <pc:docMk/>
          <pc:sldMk cId="2554192145" sldId="663"/>
        </pc:sldMkLst>
      </pc:sldChg>
      <pc:sldChg chg="addSp delSp modSp mod modAnim modNotesTx">
        <pc:chgData name="GSVE (Gianluca Stivale)" userId="b2f3af48-7d3d-4911-89cc-4769d0faa1c3" providerId="ADAL" clId="{A69D1CC3-CC99-4E10-BBB2-CE6DA348629D}" dt="2021-12-20T15:02:11.715" v="16235"/>
        <pc:sldMkLst>
          <pc:docMk/>
          <pc:sldMk cId="286228447" sldId="680"/>
        </pc:sldMkLst>
        <pc:spChg chg="mod">
          <ac:chgData name="GSVE (Gianluca Stivale)" userId="b2f3af48-7d3d-4911-89cc-4769d0faa1c3" providerId="ADAL" clId="{A69D1CC3-CC99-4E10-BBB2-CE6DA348629D}" dt="2021-12-15T16:32:17.052" v="1991" actId="255"/>
          <ac:spMkLst>
            <pc:docMk/>
            <pc:sldMk cId="286228447" sldId="680"/>
            <ac:spMk id="3" creationId="{00000000-0000-0000-0000-000000000000}"/>
          </ac:spMkLst>
        </pc:spChg>
        <pc:spChg chg="add del mod">
          <ac:chgData name="GSVE (Gianluca Stivale)" userId="b2f3af48-7d3d-4911-89cc-4769d0faa1c3" providerId="ADAL" clId="{A69D1CC3-CC99-4E10-BBB2-CE6DA348629D}" dt="2021-12-15T10:26:51.425" v="1831" actId="478"/>
          <ac:spMkLst>
            <pc:docMk/>
            <pc:sldMk cId="286228447" sldId="680"/>
            <ac:spMk id="27" creationId="{40CFCE6E-5450-4F92-9167-8B486474618E}"/>
          </ac:spMkLst>
        </pc:spChg>
        <pc:spChg chg="add mod">
          <ac:chgData name="GSVE (Gianluca Stivale)" userId="b2f3af48-7d3d-4911-89cc-4769d0faa1c3" providerId="ADAL" clId="{A69D1CC3-CC99-4E10-BBB2-CE6DA348629D}" dt="2021-12-20T15:02:05.822" v="16234" actId="1076"/>
          <ac:spMkLst>
            <pc:docMk/>
            <pc:sldMk cId="286228447" sldId="680"/>
            <ac:spMk id="27" creationId="{7E46FFFF-5E89-4DEB-9D2B-4DEB02F7098F}"/>
          </ac:spMkLst>
        </pc:spChg>
        <pc:spChg chg="mod">
          <ac:chgData name="GSVE (Gianluca Stivale)" userId="b2f3af48-7d3d-4911-89cc-4769d0faa1c3" providerId="ADAL" clId="{A69D1CC3-CC99-4E10-BBB2-CE6DA348629D}" dt="2021-12-15T10:26:48.751" v="1830" actId="20577"/>
          <ac:spMkLst>
            <pc:docMk/>
            <pc:sldMk cId="286228447" sldId="680"/>
            <ac:spMk id="28" creationId="{772E7209-E41A-4723-BB31-688878A361D5}"/>
          </ac:spMkLst>
        </pc:spChg>
        <pc:graphicFrameChg chg="mod">
          <ac:chgData name="GSVE (Gianluca Stivale)" userId="b2f3af48-7d3d-4911-89cc-4769d0faa1c3" providerId="ADAL" clId="{A69D1CC3-CC99-4E10-BBB2-CE6DA348629D}" dt="2021-12-13T07:30:20.299" v="851" actId="403"/>
          <ac:graphicFrameMkLst>
            <pc:docMk/>
            <pc:sldMk cId="286228447" sldId="680"/>
            <ac:graphicFrameMk id="37" creationId="{00000000-0000-0000-0000-000000000000}"/>
          </ac:graphicFrameMkLst>
        </pc:graphicFrameChg>
      </pc:sldChg>
      <pc:sldChg chg="modSp mod modNotesTx">
        <pc:chgData name="GSVE (Gianluca Stivale)" userId="b2f3af48-7d3d-4911-89cc-4769d0faa1c3" providerId="ADAL" clId="{A69D1CC3-CC99-4E10-BBB2-CE6DA348629D}" dt="2021-12-20T20:54:48.056" v="17032" actId="1038"/>
        <pc:sldMkLst>
          <pc:docMk/>
          <pc:sldMk cId="404904448" sldId="683"/>
        </pc:sldMkLst>
        <pc:spChg chg="mod">
          <ac:chgData name="GSVE (Gianluca Stivale)" userId="b2f3af48-7d3d-4911-89cc-4769d0faa1c3" providerId="ADAL" clId="{A69D1CC3-CC99-4E10-BBB2-CE6DA348629D}" dt="2021-12-20T20:54:48.056" v="17032" actId="1038"/>
          <ac:spMkLst>
            <pc:docMk/>
            <pc:sldMk cId="404904448" sldId="683"/>
            <ac:spMk id="15362" creationId="{00000000-0000-0000-0000-000000000000}"/>
          </ac:spMkLst>
        </pc:spChg>
      </pc:sldChg>
      <pc:sldChg chg="ord">
        <pc:chgData name="GSVE (Gianluca Stivale)" userId="b2f3af48-7d3d-4911-89cc-4769d0faa1c3" providerId="ADAL" clId="{A69D1CC3-CC99-4E10-BBB2-CE6DA348629D}" dt="2021-12-13T10:48:49.215" v="890"/>
        <pc:sldMkLst>
          <pc:docMk/>
          <pc:sldMk cId="2323247860" sldId="725"/>
        </pc:sldMkLst>
      </pc:sldChg>
      <pc:sldChg chg="addSp delSp modSp mod modNotesTx">
        <pc:chgData name="GSVE (Gianluca Stivale)" userId="b2f3af48-7d3d-4911-89cc-4769d0faa1c3" providerId="ADAL" clId="{A69D1CC3-CC99-4E10-BBB2-CE6DA348629D}" dt="2021-12-20T14:58:46.095" v="16229" actId="20577"/>
        <pc:sldMkLst>
          <pc:docMk/>
          <pc:sldMk cId="3378244617" sldId="726"/>
        </pc:sldMkLst>
        <pc:spChg chg="mod">
          <ac:chgData name="GSVE (Gianluca Stivale)" userId="b2f3af48-7d3d-4911-89cc-4769d0faa1c3" providerId="ADAL" clId="{A69D1CC3-CC99-4E10-BBB2-CE6DA348629D}" dt="2021-12-15T16:30:31.523" v="1963" actId="1076"/>
          <ac:spMkLst>
            <pc:docMk/>
            <pc:sldMk cId="3378244617" sldId="726"/>
            <ac:spMk id="2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5T07:44:06.825" v="1066" actId="478"/>
          <ac:spMkLst>
            <pc:docMk/>
            <pc:sldMk cId="3378244617" sldId="726"/>
            <ac:spMk id="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1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1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12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6:30:35.356" v="1969" actId="1035"/>
          <ac:spMkLst>
            <pc:docMk/>
            <pc:sldMk cId="3378244617" sldId="726"/>
            <ac:spMk id="15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1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18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5T07:44:06.825" v="1066" actId="478"/>
          <ac:spMkLst>
            <pc:docMk/>
            <pc:sldMk cId="3378244617" sldId="726"/>
            <ac:spMk id="2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22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23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24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25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5T07:44:06.825" v="1066" actId="478"/>
          <ac:spMkLst>
            <pc:docMk/>
            <pc:sldMk cId="3378244617" sldId="726"/>
            <ac:spMk id="26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5T07:44:06.825" v="1066" actId="478"/>
          <ac:spMkLst>
            <pc:docMk/>
            <pc:sldMk cId="3378244617" sldId="726"/>
            <ac:spMk id="2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2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7:45:20.209" v="1086" actId="1076"/>
          <ac:spMkLst>
            <pc:docMk/>
            <pc:sldMk cId="3378244617" sldId="726"/>
            <ac:spMk id="30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5T07:44:06.825" v="1066" actId="478"/>
          <ac:spMkLst>
            <pc:docMk/>
            <pc:sldMk cId="3378244617" sldId="726"/>
            <ac:spMk id="32" creationId="{00000000-0000-0000-0000-000000000000}"/>
          </ac:spMkLst>
        </pc:spChg>
        <pc:grpChg chg="mod">
          <ac:chgData name="GSVE (Gianluca Stivale)" userId="b2f3af48-7d3d-4911-89cc-4769d0faa1c3" providerId="ADAL" clId="{A69D1CC3-CC99-4E10-BBB2-CE6DA348629D}" dt="2021-12-15T16:30:35.356" v="1969" actId="1035"/>
          <ac:grpSpMkLst>
            <pc:docMk/>
            <pc:sldMk cId="3378244617" sldId="726"/>
            <ac:grpSpMk id="7" creationId="{00000000-0000-0000-0000-000000000000}"/>
          </ac:grpSpMkLst>
        </pc:grpChg>
        <pc:graphicFrameChg chg="mod">
          <ac:chgData name="GSVE (Gianluca Stivale)" userId="b2f3af48-7d3d-4911-89cc-4769d0faa1c3" providerId="ADAL" clId="{A69D1CC3-CC99-4E10-BBB2-CE6DA348629D}" dt="2021-12-15T07:45:20.209" v="1086" actId="1076"/>
          <ac:graphicFrameMkLst>
            <pc:docMk/>
            <pc:sldMk cId="3378244617" sldId="726"/>
            <ac:graphicFrameMk id="5" creationId="{00000000-0000-0000-0000-000000000000}"/>
          </ac:graphicFrameMkLst>
        </pc:graphicFrameChg>
        <pc:graphicFrameChg chg="mod">
          <ac:chgData name="GSVE (Gianluca Stivale)" userId="b2f3af48-7d3d-4911-89cc-4769d0faa1c3" providerId="ADAL" clId="{A69D1CC3-CC99-4E10-BBB2-CE6DA348629D}" dt="2021-12-15T07:45:20.209" v="1086" actId="1076"/>
          <ac:graphicFrameMkLst>
            <pc:docMk/>
            <pc:sldMk cId="3378244617" sldId="726"/>
            <ac:graphicFrameMk id="17" creationId="{00000000-0000-0000-0000-000000000000}"/>
          </ac:graphicFrameMkLst>
        </pc:graphicFrameChg>
        <pc:graphicFrameChg chg="add del">
          <ac:chgData name="GSVE (Gianluca Stivale)" userId="b2f3af48-7d3d-4911-89cc-4769d0faa1c3" providerId="ADAL" clId="{A69D1CC3-CC99-4E10-BBB2-CE6DA348629D}" dt="2021-12-15T07:44:06.825" v="1066" actId="478"/>
          <ac:graphicFrameMkLst>
            <pc:docMk/>
            <pc:sldMk cId="3378244617" sldId="726"/>
            <ac:graphicFrameMk id="19" creationId="{00000000-0000-0000-0000-000000000000}"/>
          </ac:graphicFrameMkLst>
        </pc:graphicFrameChg>
        <pc:picChg chg="add del">
          <ac:chgData name="GSVE (Gianluca Stivale)" userId="b2f3af48-7d3d-4911-89cc-4769d0faa1c3" providerId="ADAL" clId="{A69D1CC3-CC99-4E10-BBB2-CE6DA348629D}" dt="2021-12-15T07:43:48.024" v="1062" actId="22"/>
          <ac:picMkLst>
            <pc:docMk/>
            <pc:sldMk cId="3378244617" sldId="726"/>
            <ac:picMk id="4" creationId="{D3CA83B4-2888-4C4D-BC9A-4C1F91B635BE}"/>
          </ac:picMkLst>
        </pc:picChg>
        <pc:picChg chg="add del">
          <ac:chgData name="GSVE (Gianluca Stivale)" userId="b2f3af48-7d3d-4911-89cc-4769d0faa1c3" providerId="ADAL" clId="{A69D1CC3-CC99-4E10-BBB2-CE6DA348629D}" dt="2021-12-15T07:44:04.380" v="1065" actId="22"/>
          <ac:picMkLst>
            <pc:docMk/>
            <pc:sldMk cId="3378244617" sldId="726"/>
            <ac:picMk id="28" creationId="{9DE03567-C428-45A3-80EE-291D5F5FF347}"/>
          </ac:picMkLst>
        </pc:picChg>
        <pc:picChg chg="add mod modCrop">
          <ac:chgData name="GSVE (Gianluca Stivale)" userId="b2f3af48-7d3d-4911-89cc-4769d0faa1c3" providerId="ADAL" clId="{A69D1CC3-CC99-4E10-BBB2-CE6DA348629D}" dt="2021-12-15T07:45:20.209" v="1086" actId="1076"/>
          <ac:picMkLst>
            <pc:docMk/>
            <pc:sldMk cId="3378244617" sldId="726"/>
            <ac:picMk id="35" creationId="{D6CC8518-7CD1-497F-9E34-C49D34A97718}"/>
          </ac:picMkLst>
        </pc:picChg>
        <pc:cxnChg chg="mod">
          <ac:chgData name="GSVE (Gianluca Stivale)" userId="b2f3af48-7d3d-4911-89cc-4769d0faa1c3" providerId="ADAL" clId="{A69D1CC3-CC99-4E10-BBB2-CE6DA348629D}" dt="2021-12-15T16:30:35.356" v="1969" actId="1035"/>
          <ac:cxnSpMkLst>
            <pc:docMk/>
            <pc:sldMk cId="3378244617" sldId="726"/>
            <ac:cxnSpMk id="13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16:30:35.356" v="1969" actId="1035"/>
          <ac:cxnSpMkLst>
            <pc:docMk/>
            <pc:sldMk cId="3378244617" sldId="726"/>
            <ac:cxnSpMk id="14" creationId="{00000000-0000-0000-0000-000000000000}"/>
          </ac:cxnSpMkLst>
        </pc:cxnChg>
      </pc:sldChg>
      <pc:sldChg chg="addSp delSp modSp add del mod modNotesTx">
        <pc:chgData name="GSVE (Gianluca Stivale)" userId="b2f3af48-7d3d-4911-89cc-4769d0faa1c3" providerId="ADAL" clId="{A69D1CC3-CC99-4E10-BBB2-CE6DA348629D}" dt="2021-12-17T11:27:42.812" v="7862" actId="20577"/>
        <pc:sldMkLst>
          <pc:docMk/>
          <pc:sldMk cId="2265651142" sldId="757"/>
        </pc:sldMkLst>
        <pc:spChg chg="mod">
          <ac:chgData name="GSVE (Gianluca Stivale)" userId="b2f3af48-7d3d-4911-89cc-4769d0faa1c3" providerId="ADAL" clId="{A69D1CC3-CC99-4E10-BBB2-CE6DA348629D}" dt="2021-12-17T11:27:42.812" v="7862" actId="20577"/>
          <ac:spMkLst>
            <pc:docMk/>
            <pc:sldMk cId="2265651142" sldId="757"/>
            <ac:spMk id="2" creationId="{00000000-0000-0000-0000-000000000000}"/>
          </ac:spMkLst>
        </pc:spChg>
        <pc:spChg chg="add del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1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2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3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4" creationId="{00000000-0000-0000-0000-000000000000}"/>
          </ac:spMkLst>
        </pc:spChg>
        <pc:spChg chg="add del 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5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7T11:25:26.843" v="7808" actId="478"/>
          <ac:spMkLst>
            <pc:docMk/>
            <pc:sldMk cId="2265651142" sldId="757"/>
            <ac:spMk id="29" creationId="{00000000-0000-0000-0000-000000000000}"/>
          </ac:spMkLst>
        </pc:spChg>
        <pc:grpChg chg="mod">
          <ac:chgData name="GSVE (Gianluca Stivale)" userId="b2f3af48-7d3d-4911-89cc-4769d0faa1c3" providerId="ADAL" clId="{A69D1CC3-CC99-4E10-BBB2-CE6DA348629D}" dt="2021-12-17T11:25:26.843" v="7808" actId="478"/>
          <ac:grpSpMkLst>
            <pc:docMk/>
            <pc:sldMk cId="2265651142" sldId="757"/>
            <ac:grpSpMk id="19" creationId="{00000000-0000-0000-0000-000000000000}"/>
          </ac:grpSpMkLst>
        </pc:grpChg>
        <pc:grpChg chg="add del mod">
          <ac:chgData name="GSVE (Gianluca Stivale)" userId="b2f3af48-7d3d-4911-89cc-4769d0faa1c3" providerId="ADAL" clId="{A69D1CC3-CC99-4E10-BBB2-CE6DA348629D}" dt="2021-12-17T11:25:26.843" v="7808" actId="478"/>
          <ac:grpSpMkLst>
            <pc:docMk/>
            <pc:sldMk cId="2265651142" sldId="757"/>
            <ac:grpSpMk id="60" creationId="{00000000-0000-0000-0000-000000000000}"/>
          </ac:grpSpMkLst>
        </pc:grpChg>
        <pc:grpChg chg="add del mod">
          <ac:chgData name="GSVE (Gianluca Stivale)" userId="b2f3af48-7d3d-4911-89cc-4769d0faa1c3" providerId="ADAL" clId="{A69D1CC3-CC99-4E10-BBB2-CE6DA348629D}" dt="2021-12-17T11:25:26.843" v="7808" actId="478"/>
          <ac:grpSpMkLst>
            <pc:docMk/>
            <pc:sldMk cId="2265651142" sldId="757"/>
            <ac:grpSpMk id="61" creationId="{00000000-0000-0000-0000-000000000000}"/>
          </ac:grpSpMkLst>
        </pc:grpChg>
      </pc:sldChg>
      <pc:sldChg chg="add del">
        <pc:chgData name="GSVE (Gianluca Stivale)" userId="b2f3af48-7d3d-4911-89cc-4769d0faa1c3" providerId="ADAL" clId="{A69D1CC3-CC99-4E10-BBB2-CE6DA348629D}" dt="2021-12-20T13:43:02.959" v="16205" actId="47"/>
        <pc:sldMkLst>
          <pc:docMk/>
          <pc:sldMk cId="3571173674" sldId="777"/>
        </pc:sldMkLst>
      </pc:sldChg>
      <pc:sldChg chg="mod ord modShow">
        <pc:chgData name="GSVE (Gianluca Stivale)" userId="b2f3af48-7d3d-4911-89cc-4769d0faa1c3" providerId="ADAL" clId="{A69D1CC3-CC99-4E10-BBB2-CE6DA348629D}" dt="2021-12-10T20:57:41.078" v="745"/>
        <pc:sldMkLst>
          <pc:docMk/>
          <pc:sldMk cId="3730081749" sldId="796"/>
        </pc:sldMkLst>
      </pc:sldChg>
      <pc:sldChg chg="mod ord modShow">
        <pc:chgData name="GSVE (Gianluca Stivale)" userId="b2f3af48-7d3d-4911-89cc-4769d0faa1c3" providerId="ADAL" clId="{A69D1CC3-CC99-4E10-BBB2-CE6DA348629D}" dt="2021-12-10T20:57:08.351" v="742"/>
        <pc:sldMkLst>
          <pc:docMk/>
          <pc:sldMk cId="3492171191" sldId="797"/>
        </pc:sldMkLst>
      </pc:sldChg>
      <pc:sldChg chg="ord">
        <pc:chgData name="GSVE (Gianluca Stivale)" userId="b2f3af48-7d3d-4911-89cc-4769d0faa1c3" providerId="ADAL" clId="{A69D1CC3-CC99-4E10-BBB2-CE6DA348629D}" dt="2021-12-13T10:48:49.215" v="890"/>
        <pc:sldMkLst>
          <pc:docMk/>
          <pc:sldMk cId="2918337567" sldId="834"/>
        </pc:sldMkLst>
      </pc:sldChg>
      <pc:sldChg chg="mod modShow">
        <pc:chgData name="GSVE (Gianluca Stivale)" userId="b2f3af48-7d3d-4911-89cc-4769d0faa1c3" providerId="ADAL" clId="{A69D1CC3-CC99-4E10-BBB2-CE6DA348629D}" dt="2021-12-20T19:52:37.745" v="17012" actId="729"/>
        <pc:sldMkLst>
          <pc:docMk/>
          <pc:sldMk cId="2309483073" sldId="1228"/>
        </pc:sldMkLst>
      </pc:sldChg>
      <pc:sldChg chg="addSp modSp mod ord modShow modNotesTx">
        <pc:chgData name="GSVE (Gianluca Stivale)" userId="b2f3af48-7d3d-4911-89cc-4769d0faa1c3" providerId="ADAL" clId="{A69D1CC3-CC99-4E10-BBB2-CE6DA348629D}" dt="2021-12-20T07:59:12.656" v="10460"/>
        <pc:sldMkLst>
          <pc:docMk/>
          <pc:sldMk cId="2986455635" sldId="1839"/>
        </pc:sldMkLst>
        <pc:spChg chg="mod">
          <ac:chgData name="GSVE (Gianluca Stivale)" userId="b2f3af48-7d3d-4911-89cc-4769d0faa1c3" providerId="ADAL" clId="{A69D1CC3-CC99-4E10-BBB2-CE6DA348629D}" dt="2021-12-10T20:04:23.882" v="205" actId="404"/>
          <ac:spMkLst>
            <pc:docMk/>
            <pc:sldMk cId="2986455635" sldId="1839"/>
            <ac:spMk id="3" creationId="{8B738638-DD9A-4662-BCB9-A1661DE1E59E}"/>
          </ac:spMkLst>
        </pc:spChg>
        <pc:spChg chg="add mod">
          <ac:chgData name="GSVE (Gianluca Stivale)" userId="b2f3af48-7d3d-4911-89cc-4769d0faa1c3" providerId="ADAL" clId="{A69D1CC3-CC99-4E10-BBB2-CE6DA348629D}" dt="2021-12-10T20:04:17.503" v="202"/>
          <ac:spMkLst>
            <pc:docMk/>
            <pc:sldMk cId="2986455635" sldId="1839"/>
            <ac:spMk id="311" creationId="{25139031-BC09-401A-8752-62D48C20FEBB}"/>
          </ac:spMkLst>
        </pc:spChg>
        <pc:spChg chg="add mod">
          <ac:chgData name="GSVE (Gianluca Stivale)" userId="b2f3af48-7d3d-4911-89cc-4769d0faa1c3" providerId="ADAL" clId="{A69D1CC3-CC99-4E10-BBB2-CE6DA348629D}" dt="2021-12-10T20:05:42.490" v="332" actId="113"/>
          <ac:spMkLst>
            <pc:docMk/>
            <pc:sldMk cId="2986455635" sldId="1839"/>
            <ac:spMk id="312" creationId="{E0CCED8A-A59C-4D98-A60A-C45F145D048A}"/>
          </ac:spMkLst>
        </pc:spChg>
      </pc:sldChg>
      <pc:sldChg chg="modSp mod modShow">
        <pc:chgData name="GSVE (Gianluca Stivale)" userId="b2f3af48-7d3d-4911-89cc-4769d0faa1c3" providerId="ADAL" clId="{A69D1CC3-CC99-4E10-BBB2-CE6DA348629D}" dt="2021-12-21T07:16:33.757" v="17033" actId="729"/>
        <pc:sldMkLst>
          <pc:docMk/>
          <pc:sldMk cId="77771885" sldId="3602"/>
        </pc:sldMkLst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38" creationId="{66A46A45-112D-4F9C-9700-A2295D8A466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39" creationId="{F6FF6ABF-6ABF-43BD-8ACE-F7370ECFD74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0" creationId="{248087C9-BAE3-4A25-B242-D8D5D6B4997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1" creationId="{97CDB1C8-1383-47E2-B08F-467FDAE1A16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2" creationId="{FBDB11A7-00D7-4B9A-B99A-8E03F9B623C4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3" creationId="{688C9B91-6DCB-40A7-B28A-389FEFA6048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4" creationId="{E17BE038-81E7-4AE2-8905-156496FE264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5" creationId="{998B0C60-BF61-4C0E-A008-C7546B439EFE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6" creationId="{62F625C7-A85A-48CD-936D-CD83001BC11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8" creationId="{CCF02664-E442-4443-A78C-B9956EA1164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49" creationId="{7FF0BDE1-FB4C-404D-9DF2-7C951168A56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0" creationId="{EFF16861-871B-4427-95FC-2830251F045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3" creationId="{FAB03AEF-3DFB-4038-B3BD-71BE6A9761A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4" creationId="{F51E9E81-D432-4CE8-A626-095CFEF8583F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5" creationId="{3729BC1A-8195-4B78-8442-297FFAEB1F6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7" creationId="{8937FCE5-97B0-483A-A1B9-D26F35D9D50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8" creationId="{BEAAF7A0-2396-43F4-A65C-85299901BE1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59" creationId="{6C84E707-97F3-4133-8A17-84ABBC9EC01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0" creationId="{E1BF24ED-B2DF-470D-A852-E77D592D0B7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1" creationId="{C568E1CB-3457-4037-8242-1624F71D419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2" creationId="{F916A6E2-EC01-49AC-A8F9-85F87DD5790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3" creationId="{49313C87-C932-4F8B-8195-994858525AE3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4" creationId="{1C7E8EBD-8FEC-491F-90BE-3B25E2E3A39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5" creationId="{98D95CA5-F5FB-4409-A625-319211D7959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6" creationId="{A8A9C4EB-3BC3-4639-9670-399E0FB5EDAE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7" creationId="{76649A89-6B6B-4F41-B5CC-8C57DEBF9DC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8" creationId="{F1243FCB-53C9-4C59-B227-CA06DF81B9E4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69" creationId="{EF9CC8E0-5174-4A64-B085-92BDA245339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0" creationId="{43991FF3-95A7-46DF-BE0F-29DB48B6A47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1" creationId="{C2CB1AC3-BE44-43F8-8A8F-1A5B83A9481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2" creationId="{75941307-36E4-48B8-8FCD-155AEC12EF4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3" creationId="{CFD04A0C-A2A9-4F42-B489-227E88A0B9BF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4" creationId="{69A4049F-5A92-4A09-A72D-96DCDB77853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5" creationId="{9F4E243B-459B-4F70-8050-E575364DD34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6" creationId="{E77E364A-E79B-4318-9FCF-4B2B2AB14253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7" creationId="{3CBEEEA3-9368-49DB-B29F-05F3B2B6DDD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8" creationId="{1A584A9B-31EA-49DD-B0EE-B7F4F48FDB3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79" creationId="{DBD9FF0F-CCEE-4919-98C6-37FACA04595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0" creationId="{567455E3-6881-42E8-A246-51AAA2FEF60F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1" creationId="{84D275E5-8608-47F3-8498-3BAD76369DC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2" creationId="{3DDDBF5A-3605-452C-890E-4C978B1BE2B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3" creationId="{2E5C5F87-6578-46C0-980A-5F7EF382F1A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4" creationId="{D3560BC2-F529-4EB5-B453-0640691B3E1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6" creationId="{74A12624-8964-4244-994F-72823C0F671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8" creationId="{29337A0E-EF86-447D-90C0-CFE7A5835F1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89" creationId="{6CCD593C-DDD2-4F39-9000-A2B61EFC694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0" creationId="{42D2543C-B9FC-473F-8EA3-BEBD64D61B8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1" creationId="{AE4C5271-0974-433A-80F9-17F2DCCCAFF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2" creationId="{74663E83-4DD8-4ABC-909F-CF880B27BD9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3" creationId="{E39AA1E8-3DC8-4EC4-8498-9941DA21970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4" creationId="{6B87AF23-72DD-4272-8FA6-DB461C753E0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5" creationId="{820C9C61-96C4-4EBB-901A-2878A692E9A3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6" creationId="{C60DEBCE-FF90-44A5-A241-52E1847A340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197" creationId="{B7DDA2A8-EA7E-4B86-AA2D-1A1EFB3E49A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58" creationId="{DABB307F-37FD-4D1B-AB79-55D53C5DFAE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59" creationId="{AE6DA18E-2547-4F25-9060-459B681983F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0" creationId="{D2218B97-5B78-4A43-809D-BF1BFA5D193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1" creationId="{CEFB9816-547B-42D3-A516-CF167759B73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2" creationId="{045CA92E-E292-4CAF-ABBF-2ABE2CB93AD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3" creationId="{D6A3ECB5-84C0-434B-97B9-000F6D9FCDC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4" creationId="{8647E26A-273D-451C-A70E-B93D1216F08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5" creationId="{700E67CB-CA15-468F-A148-CE1896480DC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6" creationId="{309F426D-2FEA-41FB-AD0B-79C88BFAD064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7" creationId="{274997D8-4190-492D-BA2B-F63FC92B568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69" creationId="{848D641E-6FB7-4080-9BB6-9FE19B317F4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70" creationId="{985EB56C-1EBC-4600-B8B1-0383294EE1E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76" creationId="{707CF527-B19F-403C-94A5-05B9E60DA6E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78" creationId="{05FC4FEF-49C9-4B34-8D31-CA381EF644F3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79" creationId="{0FB626CF-02B0-413F-8371-AD7E1A1CB40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0" creationId="{01AF2024-5939-4233-BFBF-484AAA68155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1" creationId="{8AABE528-FB7B-46A6-9765-57F60D9D24D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2" creationId="{A450EB6B-2B11-4071-9321-FC74CB4B431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3" creationId="{85CE9BDC-E6CF-4508-AEB1-6173F4F68D1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4" creationId="{ABEBA5DC-1347-48DC-B75B-5D84F52DFA87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5" creationId="{F8B76303-D565-466D-B01B-83925B64B5FE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6" creationId="{8FF0BCB8-D467-49E0-A257-758E66F1936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7" creationId="{6A3B3D70-5864-40FC-A836-9B213D96751E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8" creationId="{20D79DCC-EA85-4603-9F7F-84E320C6565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89" creationId="{13C3AAB8-E5B7-475F-B74A-B4A989BB412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0" creationId="{FE51E6F4-5B13-4644-B98D-70E4228DF1B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1" creationId="{0A54BE86-CCA3-471C-9C2C-ECD6E32E10F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2" creationId="{0650A8A9-D196-4519-85F5-49FB6BEABF1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3" creationId="{0D3A5683-4FBB-4471-866B-44439C8EAE2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4" creationId="{32DDED3E-E127-46F3-A3CF-938FE9E6370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5" creationId="{29CAC16C-F6CE-4DE9-8E7A-64156E4FFF1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6" creationId="{FB36308F-4002-4DC2-A886-60AC96B5362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7" creationId="{74248277-F074-4FC2-958D-DF44A0734E5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8" creationId="{2583FE6F-BF73-4366-9106-FB1392B7D38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299" creationId="{0646C6C8-4FCB-4EEB-A40E-0A10DE76A1EA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0" creationId="{19801B3A-D88B-4C9B-A9FD-C7B9CE145C13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1" creationId="{815595A8-B7D7-481D-8A32-213262FC810F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3" creationId="{57766C45-71D5-450A-AAC7-7769E53E8BA4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4" creationId="{114BCD92-6317-40BB-85A4-11110F21FB04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5" creationId="{C8EBB36C-2222-4B01-BB87-1C2411949EE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6" creationId="{1F862BDD-1F42-4764-8BFE-7B32058AC4A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7" creationId="{D56514EB-927B-4281-BE05-1FD8CCE2919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8" creationId="{02411028-3C7A-4E56-8C55-DDB5DAAE859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09" creationId="{761EF0EC-3074-4CEF-8652-C0E41A64A5F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0" creationId="{20CE4D0A-85C8-4A3A-A467-6C1669DED9F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1" creationId="{795669AC-1BC3-4571-8BCD-AF0864AEA55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2" creationId="{202E0D79-7124-43B4-B3C7-19B63D41478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3" creationId="{D942AA32-8A91-48B8-ADEA-9AD4558B30E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4" creationId="{1106B106-1D11-4856-86FE-1839A7C2B1E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5" creationId="{847A90B8-7FBF-44B2-91DA-9B9C9958A8E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6" creationId="{C692FC1A-82D7-429F-BBEE-57039385CF5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7" creationId="{58C21343-FC79-4038-8DD9-9A81E2B683C2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8" creationId="{01C2B7F8-0C78-4262-ACDC-7D1C2D08D29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19" creationId="{5B08EBAF-21ED-412A-BC5F-7889F11CD9F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0" creationId="{CBA8968E-2782-44EC-9C29-A428A02AEB66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1" creationId="{F6FF723A-BA10-492D-9950-559D8F4EC255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2" creationId="{2C02FD7C-4F80-4214-AC6F-7FBB605D4F70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3" creationId="{679937BD-310E-4199-BD91-9173B62276CE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4" creationId="{11E4C235-511D-478C-89FE-762753946A0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5" creationId="{12DE2989-665E-4A99-BE91-C40E11379E4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7" creationId="{8CE23C2E-B290-4FBB-A348-816EE091C8F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8" creationId="{8DD62FF8-BED2-4AEF-AD24-82C64257ACB1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29" creationId="{F2041C00-5F33-4271-BADB-5F93C17305F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0" creationId="{5D5D0CC2-A1A1-4C28-9696-ADB7CE2AB548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1" creationId="{8218DDE6-7498-4BCF-A440-9A7D23F885B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2" creationId="{EBAA185A-770A-412D-87B0-87926293D97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3" creationId="{495EE7E4-7BE3-4925-9086-AAF10521903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4" creationId="{1BA2BDFD-7FEA-40EE-9D2A-2314C5301E09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5" creationId="{D6F02E91-AB03-40DC-987A-636A2B7538BC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6" creationId="{0F2AB94C-B7AE-41DF-BC4F-64523A69364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7" creationId="{157A3FC0-50B1-47BD-BA3C-BD4C1A15738B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8" creationId="{0B5A2587-D425-4041-9374-7680F14B5A2D}"/>
          </ac:spMkLst>
        </pc:spChg>
        <pc:spChg chg="mod">
          <ac:chgData name="GSVE (Gianluca Stivale)" userId="b2f3af48-7d3d-4911-89cc-4769d0faa1c3" providerId="ADAL" clId="{A69D1CC3-CC99-4E10-BBB2-CE6DA348629D}" dt="2021-12-15T19:00:28.792" v="2454" actId="1036"/>
          <ac:spMkLst>
            <pc:docMk/>
            <pc:sldMk cId="77771885" sldId="3602"/>
            <ac:spMk id="339" creationId="{8C8E7015-B408-4E57-964C-4F3AD0DF72FD}"/>
          </ac:spMkLst>
        </pc:s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151" creationId="{DC25E939-246B-4D86-9B27-63C0C298B7DC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152" creationId="{6AEC128E-C76F-4DB2-8FB6-8E260CCD8FA9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156" creationId="{201D88CD-FB4A-4EB8-8C1C-D434A09860DE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185" creationId="{CAFC5EA8-BB50-4870-B2E7-70FD3AFCB96E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187" creationId="{E1D58619-686E-401B-9AFA-63C9EAA71728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268" creationId="{282A0829-7F7D-46B5-B412-7E4B1CED5803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271" creationId="{33D6F8DD-9DE1-4E66-AF35-208B7779F0B8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272" creationId="{B64F5BAD-96A3-405E-91AD-0CDCBDE7FCC5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273" creationId="{EF1B2707-C61C-4244-9278-1815A1DB3434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277" creationId="{60746A0D-282A-426E-8CDA-649A62729FEF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302" creationId="{39B45386-33ED-42E6-BFDE-3B08FE5FFF14}"/>
          </ac:grpSpMkLst>
        </pc:grpChg>
        <pc:grpChg chg="mod">
          <ac:chgData name="GSVE (Gianluca Stivale)" userId="b2f3af48-7d3d-4911-89cc-4769d0faa1c3" providerId="ADAL" clId="{A69D1CC3-CC99-4E10-BBB2-CE6DA348629D}" dt="2021-12-15T19:00:28.792" v="2454" actId="1036"/>
          <ac:grpSpMkLst>
            <pc:docMk/>
            <pc:sldMk cId="77771885" sldId="3602"/>
            <ac:grpSpMk id="326" creationId="{451A182A-78F9-446D-A3FE-526AA8CBB4F8}"/>
          </ac:grpSpMkLst>
        </pc:grpChg>
        <pc:picChg chg="mod">
          <ac:chgData name="GSVE (Gianluca Stivale)" userId="b2f3af48-7d3d-4911-89cc-4769d0faa1c3" providerId="ADAL" clId="{A69D1CC3-CC99-4E10-BBB2-CE6DA348629D}" dt="2021-12-15T19:00:28.792" v="2454" actId="1036"/>
          <ac:picMkLst>
            <pc:docMk/>
            <pc:sldMk cId="77771885" sldId="3602"/>
            <ac:picMk id="274" creationId="{27002D70-9C08-4609-A0FB-F510AEF2E956}"/>
          </ac:picMkLst>
        </pc:picChg>
        <pc:picChg chg="mod">
          <ac:chgData name="GSVE (Gianluca Stivale)" userId="b2f3af48-7d3d-4911-89cc-4769d0faa1c3" providerId="ADAL" clId="{A69D1CC3-CC99-4E10-BBB2-CE6DA348629D}" dt="2021-12-15T19:00:28.792" v="2454" actId="1036"/>
          <ac:picMkLst>
            <pc:docMk/>
            <pc:sldMk cId="77771885" sldId="3602"/>
            <ac:picMk id="275" creationId="{F7BAAE48-7310-4C7E-8B5E-689AAFE98C3E}"/>
          </ac:picMkLst>
        </pc:picChg>
      </pc:sldChg>
      <pc:sldChg chg="addSp delSp modSp add mod modAnim modNotesTx">
        <pc:chgData name="GSVE (Gianluca Stivale)" userId="b2f3af48-7d3d-4911-89cc-4769d0faa1c3" providerId="ADAL" clId="{A69D1CC3-CC99-4E10-BBB2-CE6DA348629D}" dt="2021-12-20T13:55:28.836" v="16207" actId="20577"/>
        <pc:sldMkLst>
          <pc:docMk/>
          <pc:sldMk cId="1222006814" sldId="5946"/>
        </pc:sldMkLst>
        <pc:spChg chg="mod">
          <ac:chgData name="GSVE (Gianluca Stivale)" userId="b2f3af48-7d3d-4911-89cc-4769d0faa1c3" providerId="ADAL" clId="{A69D1CC3-CC99-4E10-BBB2-CE6DA348629D}" dt="2021-12-20T13:55:28.836" v="16207" actId="20577"/>
          <ac:spMkLst>
            <pc:docMk/>
            <pc:sldMk cId="1222006814" sldId="5946"/>
            <ac:spMk id="2" creationId="{6AECB97B-F6C2-C04B-8A40-79282510E848}"/>
          </ac:spMkLst>
        </pc:spChg>
        <pc:spChg chg="del">
          <ac:chgData name="GSVE (Gianluca Stivale)" userId="b2f3af48-7d3d-4911-89cc-4769d0faa1c3" providerId="ADAL" clId="{A69D1CC3-CC99-4E10-BBB2-CE6DA348629D}" dt="2021-12-10T20:59:44.355" v="753" actId="478"/>
          <ac:spMkLst>
            <pc:docMk/>
            <pc:sldMk cId="1222006814" sldId="5946"/>
            <ac:spMk id="4" creationId="{888E6B3C-D78C-D846-915D-50D3412A0919}"/>
          </ac:spMkLst>
        </pc:spChg>
        <pc:spChg chg="mod">
          <ac:chgData name="GSVE (Gianluca Stivale)" userId="b2f3af48-7d3d-4911-89cc-4769d0faa1c3" providerId="ADAL" clId="{A69D1CC3-CC99-4E10-BBB2-CE6DA348629D}" dt="2021-12-15T19:09:16.628" v="2472" actId="1035"/>
          <ac:spMkLst>
            <pc:docMk/>
            <pc:sldMk cId="1222006814" sldId="5946"/>
            <ac:spMk id="5" creationId="{4AF33411-3F0E-4AF9-B418-93550726DB20}"/>
          </ac:spMkLst>
        </pc:spChg>
        <pc:spChg chg="mod">
          <ac:chgData name="GSVE (Gianluca Stivale)" userId="b2f3af48-7d3d-4911-89cc-4769d0faa1c3" providerId="ADAL" clId="{A69D1CC3-CC99-4E10-BBB2-CE6DA348629D}" dt="2021-12-15T19:09:16.628" v="2472" actId="1035"/>
          <ac:spMkLst>
            <pc:docMk/>
            <pc:sldMk cId="1222006814" sldId="5946"/>
            <ac:spMk id="6" creationId="{E7F7C332-D42F-4378-A41D-6C0990594F11}"/>
          </ac:spMkLst>
        </pc:spChg>
        <pc:spChg chg="add mod">
          <ac:chgData name="GSVE (Gianluca Stivale)" userId="b2f3af48-7d3d-4911-89cc-4769d0faa1c3" providerId="ADAL" clId="{A69D1CC3-CC99-4E10-BBB2-CE6DA348629D}" dt="2021-12-10T20:59:42.561" v="752"/>
          <ac:spMkLst>
            <pc:docMk/>
            <pc:sldMk cId="1222006814" sldId="5946"/>
            <ac:spMk id="7" creationId="{88E748E6-AB6C-4177-BCD5-B760FDFA7908}"/>
          </ac:spMkLst>
        </pc:spChg>
        <pc:spChg chg="add mod">
          <ac:chgData name="GSVE (Gianluca Stivale)" userId="b2f3af48-7d3d-4911-89cc-4769d0faa1c3" providerId="ADAL" clId="{A69D1CC3-CC99-4E10-BBB2-CE6DA348629D}" dt="2021-12-10T20:59:52.074" v="757"/>
          <ac:spMkLst>
            <pc:docMk/>
            <pc:sldMk cId="1222006814" sldId="5946"/>
            <ac:spMk id="8" creationId="{4E2334D1-FBEA-47C3-AF11-5EB235740DB8}"/>
          </ac:spMkLst>
        </pc:spChg>
        <pc:spChg chg="add del mod">
          <ac:chgData name="GSVE (Gianluca Stivale)" userId="b2f3af48-7d3d-4911-89cc-4769d0faa1c3" providerId="ADAL" clId="{A69D1CC3-CC99-4E10-BBB2-CE6DA348629D}" dt="2021-12-15T19:09:44.213" v="2489" actId="478"/>
          <ac:spMkLst>
            <pc:docMk/>
            <pc:sldMk cId="1222006814" sldId="5946"/>
            <ac:spMk id="12" creationId="{8CA9C8BC-9D3B-4C74-BDCE-3433FDB86515}"/>
          </ac:spMkLst>
        </pc:spChg>
        <pc:spChg chg="add mod">
          <ac:chgData name="GSVE (Gianluca Stivale)" userId="b2f3af48-7d3d-4911-89cc-4769d0faa1c3" providerId="ADAL" clId="{A69D1CC3-CC99-4E10-BBB2-CE6DA348629D}" dt="2021-12-15T19:09:40.620" v="2488" actId="1036"/>
          <ac:spMkLst>
            <pc:docMk/>
            <pc:sldMk cId="1222006814" sldId="5946"/>
            <ac:spMk id="13" creationId="{8A2AC64B-9D27-4B26-946F-0FF6C3319168}"/>
          </ac:spMkLst>
        </pc:spChg>
        <pc:picChg chg="mod">
          <ac:chgData name="GSVE (Gianluca Stivale)" userId="b2f3af48-7d3d-4911-89cc-4769d0faa1c3" providerId="ADAL" clId="{A69D1CC3-CC99-4E10-BBB2-CE6DA348629D}" dt="2021-12-15T19:09:16.628" v="2472" actId="1035"/>
          <ac:picMkLst>
            <pc:docMk/>
            <pc:sldMk cId="1222006814" sldId="5946"/>
            <ac:picMk id="3" creationId="{84492BA1-D8A2-5040-A6AA-E08765256F52}"/>
          </ac:picMkLst>
        </pc:picChg>
        <pc:cxnChg chg="add mod">
          <ac:chgData name="GSVE (Gianluca Stivale)" userId="b2f3af48-7d3d-4911-89cc-4769d0faa1c3" providerId="ADAL" clId="{A69D1CC3-CC99-4E10-BBB2-CE6DA348629D}" dt="2021-12-15T19:20:04.314" v="2490" actId="1037"/>
          <ac:cxnSpMkLst>
            <pc:docMk/>
            <pc:sldMk cId="1222006814" sldId="5946"/>
            <ac:cxnSpMk id="9" creationId="{8EC56D64-9899-4C05-BC3E-1C152FF4B5E5}"/>
          </ac:cxnSpMkLst>
        </pc:cxnChg>
      </pc:sldChg>
      <pc:sldChg chg="addSp delSp modSp mod ord modAnim modShow">
        <pc:chgData name="GSVE (Gianluca Stivale)" userId="b2f3af48-7d3d-4911-89cc-4769d0faa1c3" providerId="ADAL" clId="{A69D1CC3-CC99-4E10-BBB2-CE6DA348629D}" dt="2021-12-15T18:43:21.904" v="2386"/>
        <pc:sldMkLst>
          <pc:docMk/>
          <pc:sldMk cId="851803704" sldId="1881839498"/>
        </pc:sldMkLst>
        <pc:spChg chg="mod">
          <ac:chgData name="GSVE (Gianluca Stivale)" userId="b2f3af48-7d3d-4911-89cc-4769d0faa1c3" providerId="ADAL" clId="{A69D1CC3-CC99-4E10-BBB2-CE6DA348629D}" dt="2021-12-15T08:35:56.022" v="1378" actId="20577"/>
          <ac:spMkLst>
            <pc:docMk/>
            <pc:sldMk cId="851803704" sldId="1881839498"/>
            <ac:spMk id="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1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1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1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1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2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3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4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8:41:11.766" v="2369" actId="1036"/>
          <ac:spMkLst>
            <pc:docMk/>
            <pc:sldMk cId="851803704" sldId="1881839498"/>
            <ac:spMk id="2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2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3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8:41:11.766" v="2369" actId="1036"/>
          <ac:spMkLst>
            <pc:docMk/>
            <pc:sldMk cId="851803704" sldId="1881839498"/>
            <ac:spMk id="3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3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4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4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4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5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5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6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6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6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6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69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1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2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3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4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5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7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78" creationId="{00000000-0000-0000-0000-000000000000}"/>
          </ac:spMkLst>
        </pc:spChg>
        <pc:spChg chg="add mod">
          <ac:chgData name="GSVE (Gianluca Stivale)" userId="b2f3af48-7d3d-4911-89cc-4769d0faa1c3" providerId="ADAL" clId="{A69D1CC3-CC99-4E10-BBB2-CE6DA348629D}" dt="2021-12-10T19:44:11.669" v="194"/>
          <ac:spMkLst>
            <pc:docMk/>
            <pc:sldMk cId="851803704" sldId="1881839498"/>
            <ac:spMk id="82" creationId="{041269FD-D649-42EF-8062-2F2ECBBC156A}"/>
          </ac:spMkLst>
        </pc:spChg>
        <pc:spChg chg="add del mod">
          <ac:chgData name="GSVE (Gianluca Stivale)" userId="b2f3af48-7d3d-4911-89cc-4769d0faa1c3" providerId="ADAL" clId="{A69D1CC3-CC99-4E10-BBB2-CE6DA348629D}" dt="2021-12-10T20:59:49.467" v="755"/>
          <ac:spMkLst>
            <pc:docMk/>
            <pc:sldMk cId="851803704" sldId="1881839498"/>
            <ac:spMk id="83" creationId="{46150CA7-CB5C-4C40-91A5-DB67517D4E7D}"/>
          </ac:spMkLst>
        </pc:spChg>
        <pc:spChg chg="mod">
          <ac:chgData name="GSVE (Gianluca Stivale)" userId="b2f3af48-7d3d-4911-89cc-4769d0faa1c3" providerId="ADAL" clId="{A69D1CC3-CC99-4E10-BBB2-CE6DA348629D}" dt="2021-12-15T18:41:11.766" v="2369" actId="1036"/>
          <ac:spMkLst>
            <pc:docMk/>
            <pc:sldMk cId="851803704" sldId="1881839498"/>
            <ac:spMk id="86" creationId="{885BE3BC-8FE1-45FB-B937-0A0E193CE489}"/>
          </ac:spMkLst>
        </pc:spChg>
        <pc:spChg chg="mod">
          <ac:chgData name="GSVE (Gianluca Stivale)" userId="b2f3af48-7d3d-4911-89cc-4769d0faa1c3" providerId="ADAL" clId="{A69D1CC3-CC99-4E10-BBB2-CE6DA348629D}" dt="2021-12-15T09:19:28.008" v="1410" actId="1035"/>
          <ac:spMkLst>
            <pc:docMk/>
            <pc:sldMk cId="851803704" sldId="1881839498"/>
            <ac:spMk id="96" creationId="{471701F3-A1E1-46C5-9E4B-8C9B6D647CA2}"/>
          </ac:spMkLst>
        </pc:spChg>
        <pc:grpChg chg="mod">
          <ac:chgData name="GSVE (Gianluca Stivale)" userId="b2f3af48-7d3d-4911-89cc-4769d0faa1c3" providerId="ADAL" clId="{A69D1CC3-CC99-4E10-BBB2-CE6DA348629D}" dt="2021-12-15T09:19:28.008" v="1410" actId="1035"/>
          <ac:grpSpMkLst>
            <pc:docMk/>
            <pc:sldMk cId="851803704" sldId="1881839498"/>
            <ac:grpSpMk id="2" creationId="{8F0A9481-8079-4979-BFB3-32F7B9931FA0}"/>
          </ac:grpSpMkLst>
        </pc:grpChg>
        <pc:grpChg chg="mod">
          <ac:chgData name="GSVE (Gianluca Stivale)" userId="b2f3af48-7d3d-4911-89cc-4769d0faa1c3" providerId="ADAL" clId="{A69D1CC3-CC99-4E10-BBB2-CE6DA348629D}" dt="2021-12-15T09:19:28.008" v="1410" actId="1035"/>
          <ac:grpSpMkLst>
            <pc:docMk/>
            <pc:sldMk cId="851803704" sldId="1881839498"/>
            <ac:grpSpMk id="3" creationId="{9313192B-E884-4648-BA65-D9DE008169BD}"/>
          </ac:grpSpMkLst>
        </pc:grpChg>
        <pc:grpChg chg="mod">
          <ac:chgData name="GSVE (Gianluca Stivale)" userId="b2f3af48-7d3d-4911-89cc-4769d0faa1c3" providerId="ADAL" clId="{A69D1CC3-CC99-4E10-BBB2-CE6DA348629D}" dt="2021-12-15T18:41:11.766" v="2369" actId="1036"/>
          <ac:grpSpMkLst>
            <pc:docMk/>
            <pc:sldMk cId="851803704" sldId="1881839498"/>
            <ac:grpSpMk id="7" creationId="{44053108-A84D-4464-A35D-FDCB687A332D}"/>
          </ac:grpSpMkLst>
        </pc:grpChg>
        <pc:grpChg chg="mod">
          <ac:chgData name="GSVE (Gianluca Stivale)" userId="b2f3af48-7d3d-4911-89cc-4769d0faa1c3" providerId="ADAL" clId="{A69D1CC3-CC99-4E10-BBB2-CE6DA348629D}" dt="2021-12-15T18:41:17.580" v="2380" actId="1036"/>
          <ac:grpSpMkLst>
            <pc:docMk/>
            <pc:sldMk cId="851803704" sldId="1881839498"/>
            <ac:grpSpMk id="9" creationId="{9A400F6D-55DD-4D09-BF0C-07C7F7D0B516}"/>
          </ac:grpSpMkLst>
        </pc:grp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21" creationId="{1F558803-B85D-4732-973D-E555AEDEB92A}"/>
          </ac:picMkLst>
        </pc:pic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48" creationId="{1EEC7CE5-C9B7-423C-BC1D-62A121313A20}"/>
          </ac:picMkLst>
        </pc:pic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52" creationId="{55AF2296-5D49-4BD6-96B5-7B8F52D6E293}"/>
          </ac:picMkLst>
        </pc:pic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53" creationId="{00000000-0000-0000-0000-000000000000}"/>
          </ac:picMkLst>
        </pc:pic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66" creationId="{00000000-0000-0000-0000-000000000000}"/>
          </ac:picMkLst>
        </pc:picChg>
        <pc:picChg chg="mod">
          <ac:chgData name="GSVE (Gianluca Stivale)" userId="b2f3af48-7d3d-4911-89cc-4769d0faa1c3" providerId="ADAL" clId="{A69D1CC3-CC99-4E10-BBB2-CE6DA348629D}" dt="2021-12-15T09:19:28.008" v="1410" actId="1035"/>
          <ac:picMkLst>
            <pc:docMk/>
            <pc:sldMk cId="851803704" sldId="1881839498"/>
            <ac:picMk id="80" creationId="{A8DC396E-3BA2-4BE9-BB32-833563812BAC}"/>
          </ac:picMkLst>
        </pc:picChg>
        <pc:cxnChg chg="mod">
          <ac:chgData name="GSVE (Gianluca Stivale)" userId="b2f3af48-7d3d-4911-89cc-4769d0faa1c3" providerId="ADAL" clId="{A69D1CC3-CC99-4E10-BBB2-CE6DA348629D}" dt="2021-12-15T18:41:26.101" v="2382" actId="14100"/>
          <ac:cxnSpMkLst>
            <pc:docMk/>
            <pc:sldMk cId="851803704" sldId="1881839498"/>
            <ac:cxnSpMk id="33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18:41:27.461" v="2383" actId="14100"/>
          <ac:cxnSpMkLst>
            <pc:docMk/>
            <pc:sldMk cId="851803704" sldId="1881839498"/>
            <ac:cxnSpMk id="34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18:41:11.766" v="2369" actId="1036"/>
          <ac:cxnSpMkLst>
            <pc:docMk/>
            <pc:sldMk cId="851803704" sldId="1881839498"/>
            <ac:cxnSpMk id="35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18:41:24.773" v="2381" actId="14100"/>
          <ac:cxnSpMkLst>
            <pc:docMk/>
            <pc:sldMk cId="851803704" sldId="1881839498"/>
            <ac:cxnSpMk id="36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09:19:28.008" v="1410" actId="1035"/>
          <ac:cxnSpMkLst>
            <pc:docMk/>
            <pc:sldMk cId="851803704" sldId="1881839498"/>
            <ac:cxnSpMk id="63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09:19:28.008" v="1410" actId="1035"/>
          <ac:cxnSpMkLst>
            <pc:docMk/>
            <pc:sldMk cId="851803704" sldId="1881839498"/>
            <ac:cxnSpMk id="64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09:19:28.008" v="1410" actId="1035"/>
          <ac:cxnSpMkLst>
            <pc:docMk/>
            <pc:sldMk cId="851803704" sldId="1881839498"/>
            <ac:cxnSpMk id="79" creationId="{00000000-0000-0000-0000-000000000000}"/>
          </ac:cxnSpMkLst>
        </pc:cxnChg>
        <pc:cxnChg chg="mod">
          <ac:chgData name="GSVE (Gianluca Stivale)" userId="b2f3af48-7d3d-4911-89cc-4769d0faa1c3" providerId="ADAL" clId="{A69D1CC3-CC99-4E10-BBB2-CE6DA348629D}" dt="2021-12-15T09:19:28.008" v="1410" actId="1035"/>
          <ac:cxnSpMkLst>
            <pc:docMk/>
            <pc:sldMk cId="851803704" sldId="1881839498"/>
            <ac:cxnSpMk id="81" creationId="{00000000-0000-0000-0000-000000000000}"/>
          </ac:cxnSpMkLst>
        </pc:cxnChg>
      </pc:sldChg>
      <pc:sldChg chg="del">
        <pc:chgData name="GSVE (Gianluca Stivale)" userId="b2f3af48-7d3d-4911-89cc-4769d0faa1c3" providerId="ADAL" clId="{A69D1CC3-CC99-4E10-BBB2-CE6DA348629D}" dt="2021-12-10T18:32:11.783" v="19" actId="47"/>
        <pc:sldMkLst>
          <pc:docMk/>
          <pc:sldMk cId="3902894563" sldId="2096975418"/>
        </pc:sldMkLst>
      </pc:sldChg>
      <pc:sldChg chg="mod ord modShow">
        <pc:chgData name="GSVE (Gianluca Stivale)" userId="b2f3af48-7d3d-4911-89cc-4769d0faa1c3" providerId="ADAL" clId="{A69D1CC3-CC99-4E10-BBB2-CE6DA348629D}" dt="2021-12-15T14:15:51.548" v="1839"/>
        <pc:sldMkLst>
          <pc:docMk/>
          <pc:sldMk cId="2728465127" sldId="2096975502"/>
        </pc:sldMkLst>
      </pc:sldChg>
      <pc:sldChg chg="delSp modSp add mod modAnim modShow">
        <pc:chgData name="GSVE (Gianluca Stivale)" userId="b2f3af48-7d3d-4911-89cc-4769d0faa1c3" providerId="ADAL" clId="{A69D1CC3-CC99-4E10-BBB2-CE6DA348629D}" dt="2021-12-20T19:58:46.190" v="17018" actId="729"/>
        <pc:sldMkLst>
          <pc:docMk/>
          <pc:sldMk cId="1709247165" sldId="2096975648"/>
        </pc:sldMkLst>
        <pc:grpChg chg="del mod">
          <ac:chgData name="GSVE (Gianluca Stivale)" userId="b2f3af48-7d3d-4911-89cc-4769d0faa1c3" providerId="ADAL" clId="{A69D1CC3-CC99-4E10-BBB2-CE6DA348629D}" dt="2021-12-20T19:58:39.040" v="17017" actId="478"/>
          <ac:grpSpMkLst>
            <pc:docMk/>
            <pc:sldMk cId="1709247165" sldId="2096975648"/>
            <ac:grpSpMk id="68" creationId="{777EB273-0815-4AE2-877A-FA168B0544B5}"/>
          </ac:grpSpMkLst>
        </pc:grpChg>
        <pc:graphicFrameChg chg="mod">
          <ac:chgData name="GSVE (Gianluca Stivale)" userId="b2f3af48-7d3d-4911-89cc-4769d0faa1c3" providerId="ADAL" clId="{A69D1CC3-CC99-4E10-BBB2-CE6DA348629D}" dt="2021-12-20T19:58:34.074" v="17015"/>
          <ac:graphicFrameMkLst>
            <pc:docMk/>
            <pc:sldMk cId="1709247165" sldId="2096975648"/>
            <ac:graphicFrameMk id="7" creationId="{B7828F82-E4DA-469F-84D5-1B25FDB456F8}"/>
          </ac:graphicFrameMkLst>
        </pc:graphicFrameChg>
      </pc:sldChg>
      <pc:sldChg chg="addSp delSp modSp mod ord">
        <pc:chgData name="GSVE (Gianluca Stivale)" userId="b2f3af48-7d3d-4911-89cc-4769d0faa1c3" providerId="ADAL" clId="{A69D1CC3-CC99-4E10-BBB2-CE6DA348629D}" dt="2021-12-15T08:04:48.773" v="1309" actId="1076"/>
        <pc:sldMkLst>
          <pc:docMk/>
          <pc:sldMk cId="1604345794" sldId="2096975800"/>
        </pc:sldMkLst>
        <pc:graphicFrameChg chg="add mod modGraphic">
          <ac:chgData name="GSVE (Gianluca Stivale)" userId="b2f3af48-7d3d-4911-89cc-4769d0faa1c3" providerId="ADAL" clId="{A69D1CC3-CC99-4E10-BBB2-CE6DA348629D}" dt="2021-12-15T08:04:48.773" v="1309" actId="1076"/>
          <ac:graphicFrameMkLst>
            <pc:docMk/>
            <pc:sldMk cId="1604345794" sldId="2096975800"/>
            <ac:graphicFrameMk id="2" creationId="{D33F770B-6F65-4360-B0D1-E44CEAB216AE}"/>
          </ac:graphicFrameMkLst>
        </pc:graphicFrameChg>
        <pc:picChg chg="add del mod modCrop">
          <ac:chgData name="GSVE (Gianluca Stivale)" userId="b2f3af48-7d3d-4911-89cc-4769d0faa1c3" providerId="ADAL" clId="{A69D1CC3-CC99-4E10-BBB2-CE6DA348629D}" dt="2021-12-13T10:57:32.893" v="913" actId="478"/>
          <ac:picMkLst>
            <pc:docMk/>
            <pc:sldMk cId="1604345794" sldId="2096975800"/>
            <ac:picMk id="4" creationId="{91BF9384-879D-4BEE-981D-9C6BB05043E5}"/>
          </ac:picMkLst>
        </pc:picChg>
      </pc:sldChg>
      <pc:sldChg chg="addSp delSp add del mod modAnim">
        <pc:chgData name="GSVE (Gianluca Stivale)" userId="b2f3af48-7d3d-4911-89cc-4769d0faa1c3" providerId="ADAL" clId="{A69D1CC3-CC99-4E10-BBB2-CE6DA348629D}" dt="2021-12-10T20:54:41.571" v="713" actId="47"/>
        <pc:sldMkLst>
          <pc:docMk/>
          <pc:sldMk cId="4081935598" sldId="2096975848"/>
        </pc:sldMkLst>
        <pc:spChg chg="add del">
          <ac:chgData name="GSVE (Gianluca Stivale)" userId="b2f3af48-7d3d-4911-89cc-4769d0faa1c3" providerId="ADAL" clId="{A69D1CC3-CC99-4E10-BBB2-CE6DA348629D}" dt="2021-12-10T20:53:57.176" v="711" actId="478"/>
          <ac:spMkLst>
            <pc:docMk/>
            <pc:sldMk cId="4081935598" sldId="2096975848"/>
            <ac:spMk id="7" creationId="{645DEE74-8650-42A1-B03B-F977D507E781}"/>
          </ac:spMkLst>
        </pc:spChg>
      </pc:sldChg>
      <pc:sldChg chg="mod ord modShow">
        <pc:chgData name="GSVE (Gianluca Stivale)" userId="b2f3af48-7d3d-4911-89cc-4769d0faa1c3" providerId="ADAL" clId="{A69D1CC3-CC99-4E10-BBB2-CE6DA348629D}" dt="2021-12-20T19:59:17.085" v="17021" actId="729"/>
        <pc:sldMkLst>
          <pc:docMk/>
          <pc:sldMk cId="1910899293" sldId="2096975849"/>
        </pc:sldMkLst>
      </pc:sldChg>
      <pc:sldChg chg="addSp delSp modSp add mod ord delAnim modShow">
        <pc:chgData name="GSVE (Gianluca Stivale)" userId="b2f3af48-7d3d-4911-89cc-4769d0faa1c3" providerId="ADAL" clId="{A69D1CC3-CC99-4E10-BBB2-CE6DA348629D}" dt="2021-12-20T17:23:11.401" v="17003"/>
        <pc:sldMkLst>
          <pc:docMk/>
          <pc:sldMk cId="2561475876" sldId="2096975851"/>
        </pc:sldMkLst>
        <pc:spChg chg="del">
          <ac:chgData name="GSVE (Gianluca Stivale)" userId="b2f3af48-7d3d-4911-89cc-4769d0faa1c3" providerId="ADAL" clId="{A69D1CC3-CC99-4E10-BBB2-CE6DA348629D}" dt="2021-12-15T09:48:12.782" v="1490" actId="478"/>
          <ac:spMkLst>
            <pc:docMk/>
            <pc:sldMk cId="2561475876" sldId="2096975851"/>
            <ac:spMk id="6" creationId="{84C3A0C7-9486-4911-9BD1-D84564E51CBA}"/>
          </ac:spMkLst>
        </pc:spChg>
        <pc:spChg chg="mod">
          <ac:chgData name="GSVE (Gianluca Stivale)" userId="b2f3af48-7d3d-4911-89cc-4769d0faa1c3" providerId="ADAL" clId="{A69D1CC3-CC99-4E10-BBB2-CE6DA348629D}" dt="2021-12-15T09:46:09.340" v="1465" actId="1036"/>
          <ac:spMkLst>
            <pc:docMk/>
            <pc:sldMk cId="2561475876" sldId="2096975851"/>
            <ac:spMk id="7" creationId="{F980B675-727B-4B5C-B5B2-DE8AA70B2A6E}"/>
          </ac:spMkLst>
        </pc:spChg>
        <pc:spChg chg="del">
          <ac:chgData name="GSVE (Gianluca Stivale)" userId="b2f3af48-7d3d-4911-89cc-4769d0faa1c3" providerId="ADAL" clId="{A69D1CC3-CC99-4E10-BBB2-CE6DA348629D}" dt="2021-12-15T09:49:41.340" v="1560" actId="478"/>
          <ac:spMkLst>
            <pc:docMk/>
            <pc:sldMk cId="2561475876" sldId="2096975851"/>
            <ac:spMk id="8" creationId="{62481559-BC99-40CC-AA54-0D87DC868AC3}"/>
          </ac:spMkLst>
        </pc:spChg>
        <pc:spChg chg="add del mod">
          <ac:chgData name="GSVE (Gianluca Stivale)" userId="b2f3af48-7d3d-4911-89cc-4769d0faa1c3" providerId="ADAL" clId="{A69D1CC3-CC99-4E10-BBB2-CE6DA348629D}" dt="2021-12-15T10:14:33.690" v="1711" actId="478"/>
          <ac:spMkLst>
            <pc:docMk/>
            <pc:sldMk cId="2561475876" sldId="2096975851"/>
            <ac:spMk id="9" creationId="{10813FA3-9B05-4AFD-B439-34F03973E725}"/>
          </ac:spMkLst>
        </pc:spChg>
        <pc:spChg chg="add mod">
          <ac:chgData name="GSVE (Gianluca Stivale)" userId="b2f3af48-7d3d-4911-89cc-4769d0faa1c3" providerId="ADAL" clId="{A69D1CC3-CC99-4E10-BBB2-CE6DA348629D}" dt="2021-12-15T10:25:33.370" v="1816" actId="20577"/>
          <ac:spMkLst>
            <pc:docMk/>
            <pc:sldMk cId="2561475876" sldId="2096975851"/>
            <ac:spMk id="10" creationId="{9237BCA8-346E-4249-8F14-3DB0E5B5BA09}"/>
          </ac:spMkLst>
        </pc:spChg>
        <pc:spChg chg="mod">
          <ac:chgData name="GSVE (Gianluca Stivale)" userId="b2f3af48-7d3d-4911-89cc-4769d0faa1c3" providerId="ADAL" clId="{A69D1CC3-CC99-4E10-BBB2-CE6DA348629D}" dt="2021-12-15T16:31:58.268" v="1988" actId="20577"/>
          <ac:spMkLst>
            <pc:docMk/>
            <pc:sldMk cId="2561475876" sldId="2096975851"/>
            <ac:spMk id="69634" creationId="{00000000-0000-0000-0000-000000000000}"/>
          </ac:spMkLst>
        </pc:spChg>
        <pc:graphicFrameChg chg="mod modGraphic">
          <ac:chgData name="GSVE (Gianluca Stivale)" userId="b2f3af48-7d3d-4911-89cc-4769d0faa1c3" providerId="ADAL" clId="{A69D1CC3-CC99-4E10-BBB2-CE6DA348629D}" dt="2021-12-15T16:34:32.196" v="2020" actId="1076"/>
          <ac:graphicFrameMkLst>
            <pc:docMk/>
            <pc:sldMk cId="2561475876" sldId="2096975851"/>
            <ac:graphicFrameMk id="5" creationId="{0FFEF871-764A-4356-8F91-656EBE2C5459}"/>
          </ac:graphicFrameMkLst>
        </pc:graphicFrameChg>
      </pc:sldChg>
      <pc:sldChg chg="modSp mod modShow modNotesTx">
        <pc:chgData name="GSVE (Gianluca Stivale)" userId="b2f3af48-7d3d-4911-89cc-4769d0faa1c3" providerId="ADAL" clId="{A69D1CC3-CC99-4E10-BBB2-CE6DA348629D}" dt="2021-12-20T12:52:48.785" v="15749" actId="729"/>
        <pc:sldMkLst>
          <pc:docMk/>
          <pc:sldMk cId="2123215901" sldId="2096975862"/>
        </pc:sldMkLst>
        <pc:spChg chg="mod">
          <ac:chgData name="GSVE (Gianluca Stivale)" userId="b2f3af48-7d3d-4911-89cc-4769d0faa1c3" providerId="ADAL" clId="{A69D1CC3-CC99-4E10-BBB2-CE6DA348629D}" dt="2021-12-16T11:10:47.899" v="2965" actId="1038"/>
          <ac:spMkLst>
            <pc:docMk/>
            <pc:sldMk cId="2123215901" sldId="2096975862"/>
            <ac:spMk id="9" creationId="{B40EB1E2-2636-44D8-B95E-EC0E2A7A53BC}"/>
          </ac:spMkLst>
        </pc:spChg>
        <pc:spChg chg="mod">
          <ac:chgData name="GSVE (Gianluca Stivale)" userId="b2f3af48-7d3d-4911-89cc-4769d0faa1c3" providerId="ADAL" clId="{A69D1CC3-CC99-4E10-BBB2-CE6DA348629D}" dt="2021-12-15T17:26:05.343" v="2277" actId="1035"/>
          <ac:spMkLst>
            <pc:docMk/>
            <pc:sldMk cId="2123215901" sldId="2096975862"/>
            <ac:spMk id="23" creationId="{03B55670-7C6B-48E3-9648-326A971F63C9}"/>
          </ac:spMkLst>
        </pc:spChg>
      </pc:sldChg>
      <pc:sldChg chg="ord">
        <pc:chgData name="GSVE (Gianluca Stivale)" userId="b2f3af48-7d3d-4911-89cc-4769d0faa1c3" providerId="ADAL" clId="{A69D1CC3-CC99-4E10-BBB2-CE6DA348629D}" dt="2021-12-15T07:59:29.518" v="1211"/>
        <pc:sldMkLst>
          <pc:docMk/>
          <pc:sldMk cId="2678655462" sldId="2096975864"/>
        </pc:sldMkLst>
      </pc:sldChg>
      <pc:sldChg chg="ord">
        <pc:chgData name="GSVE (Gianluca Stivale)" userId="b2f3af48-7d3d-4911-89cc-4769d0faa1c3" providerId="ADAL" clId="{A69D1CC3-CC99-4E10-BBB2-CE6DA348629D}" dt="2021-12-16T18:44:51.236" v="4001"/>
        <pc:sldMkLst>
          <pc:docMk/>
          <pc:sldMk cId="1898674594" sldId="2096975866"/>
        </pc:sldMkLst>
      </pc:sldChg>
      <pc:sldChg chg="modSp ord">
        <pc:chgData name="GSVE (Gianluca Stivale)" userId="b2f3af48-7d3d-4911-89cc-4769d0faa1c3" providerId="ADAL" clId="{A69D1CC3-CC99-4E10-BBB2-CE6DA348629D}" dt="2021-12-13T07:39:05.970" v="867" actId="20578"/>
        <pc:sldMkLst>
          <pc:docMk/>
          <pc:sldMk cId="670756325" sldId="2096975867"/>
        </pc:sldMkLst>
        <pc:spChg chg="mod">
          <ac:chgData name="GSVE (Gianluca Stivale)" userId="b2f3af48-7d3d-4911-89cc-4769d0faa1c3" providerId="ADAL" clId="{A69D1CC3-CC99-4E10-BBB2-CE6DA348629D}" dt="2021-12-13T07:38:07.751" v="864" actId="1076"/>
          <ac:spMkLst>
            <pc:docMk/>
            <pc:sldMk cId="670756325" sldId="2096975867"/>
            <ac:spMk id="21" creationId="{2F7551E8-5C25-4896-A7BF-D73E05D8333F}"/>
          </ac:spMkLst>
        </pc:spChg>
        <pc:spChg chg="mod">
          <ac:chgData name="GSVE (Gianluca Stivale)" userId="b2f3af48-7d3d-4911-89cc-4769d0faa1c3" providerId="ADAL" clId="{A69D1CC3-CC99-4E10-BBB2-CE6DA348629D}" dt="2021-12-13T07:37:59.048" v="863" actId="1076"/>
          <ac:spMkLst>
            <pc:docMk/>
            <pc:sldMk cId="670756325" sldId="2096975867"/>
            <ac:spMk id="23" creationId="{656BF242-4261-40B6-8476-51CB252FE99E}"/>
          </ac:spMkLst>
        </pc:spChg>
      </pc:sldChg>
      <pc:sldChg chg="modSp mod ord">
        <pc:chgData name="GSVE (Gianluca Stivale)" userId="b2f3af48-7d3d-4911-89cc-4769d0faa1c3" providerId="ADAL" clId="{A69D1CC3-CC99-4E10-BBB2-CE6DA348629D}" dt="2021-12-15T07:56:43.520" v="1207" actId="1036"/>
        <pc:sldMkLst>
          <pc:docMk/>
          <pc:sldMk cId="2675079049" sldId="2096975868"/>
        </pc:sldMkLst>
        <pc:spChg chg="mod">
          <ac:chgData name="GSVE (Gianluca Stivale)" userId="b2f3af48-7d3d-4911-89cc-4769d0faa1c3" providerId="ADAL" clId="{A69D1CC3-CC99-4E10-BBB2-CE6DA348629D}" dt="2021-12-15T07:56:43.520" v="1207" actId="1036"/>
          <ac:spMkLst>
            <pc:docMk/>
            <pc:sldMk cId="2675079049" sldId="2096975868"/>
            <ac:spMk id="10" creationId="{6812D8BD-3BF2-45FD-9FE0-A90647E582E7}"/>
          </ac:spMkLst>
        </pc:spChg>
        <pc:spChg chg="mod">
          <ac:chgData name="GSVE (Gianluca Stivale)" userId="b2f3af48-7d3d-4911-89cc-4769d0faa1c3" providerId="ADAL" clId="{A69D1CC3-CC99-4E10-BBB2-CE6DA348629D}" dt="2021-12-15T07:56:43.520" v="1207" actId="1036"/>
          <ac:spMkLst>
            <pc:docMk/>
            <pc:sldMk cId="2675079049" sldId="2096975868"/>
            <ac:spMk id="14" creationId="{C9D51C93-713F-41ED-AF3C-AAAB48A0B702}"/>
          </ac:spMkLst>
        </pc:spChg>
      </pc:sldChg>
      <pc:sldChg chg="addSp delSp modSp mod ord modNotesTx">
        <pc:chgData name="GSVE (Gianluca Stivale)" userId="b2f3af48-7d3d-4911-89cc-4769d0faa1c3" providerId="ADAL" clId="{A69D1CC3-CC99-4E10-BBB2-CE6DA348629D}" dt="2021-12-21T07:29:57.440" v="17034" actId="1076"/>
        <pc:sldMkLst>
          <pc:docMk/>
          <pc:sldMk cId="961619446" sldId="2096975869"/>
        </pc:sldMkLst>
        <pc:spChg chg="add mod">
          <ac:chgData name="GSVE (Gianluca Stivale)" userId="b2f3af48-7d3d-4911-89cc-4769d0faa1c3" providerId="ADAL" clId="{A69D1CC3-CC99-4E10-BBB2-CE6DA348629D}" dt="2021-12-21T07:29:57.440" v="17034" actId="1076"/>
          <ac:spMkLst>
            <pc:docMk/>
            <pc:sldMk cId="961619446" sldId="2096975869"/>
            <ac:spMk id="3" creationId="{EA0801E6-FDDA-432C-9CA3-306831BD2965}"/>
          </ac:spMkLst>
        </pc:spChg>
        <pc:spChg chg="add del mod">
          <ac:chgData name="GSVE (Gianluca Stivale)" userId="b2f3af48-7d3d-4911-89cc-4769d0faa1c3" providerId="ADAL" clId="{A69D1CC3-CC99-4E10-BBB2-CE6DA348629D}" dt="2021-12-15T20:31:53.819" v="2523" actId="478"/>
          <ac:spMkLst>
            <pc:docMk/>
            <pc:sldMk cId="961619446" sldId="2096975869"/>
            <ac:spMk id="8" creationId="{2D025262-BCDF-4C61-8BBD-7EBD28EC6361}"/>
          </ac:spMkLst>
        </pc:spChg>
        <pc:spChg chg="add del mod">
          <ac:chgData name="GSVE (Gianluca Stivale)" userId="b2f3af48-7d3d-4911-89cc-4769d0faa1c3" providerId="ADAL" clId="{A69D1CC3-CC99-4E10-BBB2-CE6DA348629D}" dt="2021-12-15T20:32:50.477" v="2534" actId="478"/>
          <ac:spMkLst>
            <pc:docMk/>
            <pc:sldMk cId="961619446" sldId="2096975869"/>
            <ac:spMk id="9" creationId="{E92E546C-CD9F-43A6-B432-2ABE35407D8F}"/>
          </ac:spMkLst>
        </pc:spChg>
        <pc:spChg chg="del">
          <ac:chgData name="GSVE (Gianluca Stivale)" userId="b2f3af48-7d3d-4911-89cc-4769d0faa1c3" providerId="ADAL" clId="{A69D1CC3-CC99-4E10-BBB2-CE6DA348629D}" dt="2021-12-15T20:31:28.026" v="2513" actId="478"/>
          <ac:spMkLst>
            <pc:docMk/>
            <pc:sldMk cId="961619446" sldId="2096975869"/>
            <ac:spMk id="106" creationId="{0C87391D-D2CD-40D8-B640-8CF693AAC3EF}"/>
          </ac:spMkLst>
        </pc:spChg>
        <pc:spChg chg="mod">
          <ac:chgData name="GSVE (Gianluca Stivale)" userId="b2f3af48-7d3d-4911-89cc-4769d0faa1c3" providerId="ADAL" clId="{A69D1CC3-CC99-4E10-BBB2-CE6DA348629D}" dt="2021-12-17T11:58:12.706" v="7892" actId="1037"/>
          <ac:spMkLst>
            <pc:docMk/>
            <pc:sldMk cId="961619446" sldId="2096975869"/>
            <ac:spMk id="107" creationId="{E815EE2D-2E37-4E04-A369-D6980FAA028A}"/>
          </ac:spMkLst>
        </pc:spChg>
        <pc:picChg chg="mod">
          <ac:chgData name="GSVE (Gianluca Stivale)" userId="b2f3af48-7d3d-4911-89cc-4769d0faa1c3" providerId="ADAL" clId="{A69D1CC3-CC99-4E10-BBB2-CE6DA348629D}" dt="2021-12-15T20:31:57.769" v="2525" actId="1076"/>
          <ac:picMkLst>
            <pc:docMk/>
            <pc:sldMk cId="961619446" sldId="2096975869"/>
            <ac:picMk id="5" creationId="{D46D3FBD-BC57-4854-9C0D-974220642727}"/>
          </ac:picMkLst>
        </pc:picChg>
        <pc:picChg chg="add del mod">
          <ac:chgData name="GSVE (Gianluca Stivale)" userId="b2f3af48-7d3d-4911-89cc-4769d0faa1c3" providerId="ADAL" clId="{A69D1CC3-CC99-4E10-BBB2-CE6DA348629D}" dt="2021-12-17T11:58:18.688" v="7899" actId="1037"/>
          <ac:picMkLst>
            <pc:docMk/>
            <pc:sldMk cId="961619446" sldId="2096975869"/>
            <ac:picMk id="3074" creationId="{76417DE0-6176-449B-A7F9-755D108832BF}"/>
          </ac:picMkLst>
        </pc:picChg>
      </pc:sldChg>
      <pc:sldChg chg="addSp modSp mod ord modNotesTx">
        <pc:chgData name="GSVE (Gianluca Stivale)" userId="b2f3af48-7d3d-4911-89cc-4769d0faa1c3" providerId="ADAL" clId="{A69D1CC3-CC99-4E10-BBB2-CE6DA348629D}" dt="2021-12-20T13:26:51.098" v="16119" actId="20577"/>
        <pc:sldMkLst>
          <pc:docMk/>
          <pc:sldMk cId="1731534425" sldId="2096975870"/>
        </pc:sldMkLst>
        <pc:picChg chg="mod">
          <ac:chgData name="GSVE (Gianluca Stivale)" userId="b2f3af48-7d3d-4911-89cc-4769d0faa1c3" providerId="ADAL" clId="{A69D1CC3-CC99-4E10-BBB2-CE6DA348629D}" dt="2021-12-10T19:41:00.675" v="145" actId="1076"/>
          <ac:picMkLst>
            <pc:docMk/>
            <pc:sldMk cId="1731534425" sldId="2096975870"/>
            <ac:picMk id="3" creationId="{D31B6243-6154-48C8-8219-28F8D176C107}"/>
          </ac:picMkLst>
        </pc:picChg>
        <pc:picChg chg="add mod modCrop">
          <ac:chgData name="GSVE (Gianluca Stivale)" userId="b2f3af48-7d3d-4911-89cc-4769d0faa1c3" providerId="ADAL" clId="{A69D1CC3-CC99-4E10-BBB2-CE6DA348629D}" dt="2021-12-10T19:40:39.225" v="142" actId="1076"/>
          <ac:picMkLst>
            <pc:docMk/>
            <pc:sldMk cId="1731534425" sldId="2096975870"/>
            <ac:picMk id="5" creationId="{2D22A13E-2684-4E0C-850C-0F66D4CAA00D}"/>
          </ac:picMkLst>
        </pc:picChg>
        <pc:picChg chg="mod modCrop">
          <ac:chgData name="GSVE (Gianluca Stivale)" userId="b2f3af48-7d3d-4911-89cc-4769d0faa1c3" providerId="ADAL" clId="{A69D1CC3-CC99-4E10-BBB2-CE6DA348629D}" dt="2021-12-10T19:40:36.852" v="141" actId="14100"/>
          <ac:picMkLst>
            <pc:docMk/>
            <pc:sldMk cId="1731534425" sldId="2096975870"/>
            <ac:picMk id="6" creationId="{33A54132-5E6F-4BD8-957B-B467E7996155}"/>
          </ac:picMkLst>
        </pc:picChg>
      </pc:sldChg>
      <pc:sldChg chg="addSp delSp modSp mod modNotesTx">
        <pc:chgData name="GSVE (Gianluca Stivale)" userId="b2f3af48-7d3d-4911-89cc-4769d0faa1c3" providerId="ADAL" clId="{A69D1CC3-CC99-4E10-BBB2-CE6DA348629D}" dt="2021-12-20T13:28:03.414" v="16174" actId="113"/>
        <pc:sldMkLst>
          <pc:docMk/>
          <pc:sldMk cId="2223235057" sldId="2096975871"/>
        </pc:sldMkLst>
        <pc:spChg chg="mod">
          <ac:chgData name="GSVE (Gianluca Stivale)" userId="b2f3af48-7d3d-4911-89cc-4769d0faa1c3" providerId="ADAL" clId="{A69D1CC3-CC99-4E10-BBB2-CE6DA348629D}" dt="2021-12-17T12:54:52.103" v="8044" actId="20577"/>
          <ac:spMkLst>
            <pc:docMk/>
            <pc:sldMk cId="2223235057" sldId="2096975871"/>
            <ac:spMk id="9" creationId="{8DBE2A43-C200-4010-B0A5-1EF51639F734}"/>
          </ac:spMkLst>
        </pc:spChg>
        <pc:spChg chg="add del mod">
          <ac:chgData name="GSVE (Gianluca Stivale)" userId="b2f3af48-7d3d-4911-89cc-4769d0faa1c3" providerId="ADAL" clId="{A69D1CC3-CC99-4E10-BBB2-CE6DA348629D}" dt="2021-12-15T07:53:14.086" v="1132" actId="478"/>
          <ac:spMkLst>
            <pc:docMk/>
            <pc:sldMk cId="2223235057" sldId="2096975871"/>
            <ac:spMk id="10" creationId="{92E68F40-EF71-460A-9A11-8C9266BC567A}"/>
          </ac:spMkLst>
        </pc:spChg>
        <pc:spChg chg="add mod">
          <ac:chgData name="GSVE (Gianluca Stivale)" userId="b2f3af48-7d3d-4911-89cc-4769d0faa1c3" providerId="ADAL" clId="{A69D1CC3-CC99-4E10-BBB2-CE6DA348629D}" dt="2021-12-16T07:53:16.122" v="2785" actId="6549"/>
          <ac:spMkLst>
            <pc:docMk/>
            <pc:sldMk cId="2223235057" sldId="2096975871"/>
            <ac:spMk id="11" creationId="{B6510F16-21EB-475D-8B2D-978CFAE124F8}"/>
          </ac:spMkLst>
        </pc:spChg>
        <pc:spChg chg="add del">
          <ac:chgData name="GSVE (Gianluca Stivale)" userId="b2f3af48-7d3d-4911-89cc-4769d0faa1c3" providerId="ADAL" clId="{A69D1CC3-CC99-4E10-BBB2-CE6DA348629D}" dt="2021-12-15T07:53:47.291" v="1136" actId="478"/>
          <ac:spMkLst>
            <pc:docMk/>
            <pc:sldMk cId="2223235057" sldId="2096975871"/>
            <ac:spMk id="13" creationId="{8014A6A6-FD20-4B04-9B29-164710777135}"/>
          </ac:spMkLst>
        </pc:spChg>
        <pc:spChg chg="del mod">
          <ac:chgData name="GSVE (Gianluca Stivale)" userId="b2f3af48-7d3d-4911-89cc-4769d0faa1c3" providerId="ADAL" clId="{A69D1CC3-CC99-4E10-BBB2-CE6DA348629D}" dt="2021-12-15T20:46:07.737" v="2588" actId="478"/>
          <ac:spMkLst>
            <pc:docMk/>
            <pc:sldMk cId="2223235057" sldId="2096975871"/>
            <ac:spMk id="14" creationId="{9D0FDCD6-D3F8-4D3E-84C5-E0F53AA4E117}"/>
          </ac:spMkLst>
        </pc:spChg>
        <pc:spChg chg="mod">
          <ac:chgData name="GSVE (Gianluca Stivale)" userId="b2f3af48-7d3d-4911-89cc-4769d0faa1c3" providerId="ADAL" clId="{A69D1CC3-CC99-4E10-BBB2-CE6DA348629D}" dt="2021-12-15T20:46:10.658" v="2589" actId="1076"/>
          <ac:spMkLst>
            <pc:docMk/>
            <pc:sldMk cId="2223235057" sldId="2096975871"/>
            <ac:spMk id="15" creationId="{605AD902-248A-45A0-B385-C6EBF52C60E9}"/>
          </ac:spMkLst>
        </pc:spChg>
        <pc:spChg chg="add mod">
          <ac:chgData name="GSVE (Gianluca Stivale)" userId="b2f3af48-7d3d-4911-89cc-4769d0faa1c3" providerId="ADAL" clId="{A69D1CC3-CC99-4E10-BBB2-CE6DA348629D}" dt="2021-12-15T08:41:00.854" v="1384" actId="20577"/>
          <ac:spMkLst>
            <pc:docMk/>
            <pc:sldMk cId="2223235057" sldId="2096975871"/>
            <ac:spMk id="16" creationId="{C073B4FE-E95F-4A56-9DA5-D5FBAA27E373}"/>
          </ac:spMkLst>
        </pc:spChg>
        <pc:spChg chg="mod">
          <ac:chgData name="GSVE (Gianluca Stivale)" userId="b2f3af48-7d3d-4911-89cc-4769d0faa1c3" providerId="ADAL" clId="{A69D1CC3-CC99-4E10-BBB2-CE6DA348629D}" dt="2021-12-17T08:12:19.189" v="4813" actId="6549"/>
          <ac:spMkLst>
            <pc:docMk/>
            <pc:sldMk cId="2223235057" sldId="2096975871"/>
            <ac:spMk id="18" creationId="{9AD01426-AD48-4F22-8146-9A05D35D9576}"/>
          </ac:spMkLst>
        </pc:spChg>
        <pc:picChg chg="mod">
          <ac:chgData name="GSVE (Gianluca Stivale)" userId="b2f3af48-7d3d-4911-89cc-4769d0faa1c3" providerId="ADAL" clId="{A69D1CC3-CC99-4E10-BBB2-CE6DA348629D}" dt="2021-12-10T19:38:26.243" v="113" actId="208"/>
          <ac:picMkLst>
            <pc:docMk/>
            <pc:sldMk cId="2223235057" sldId="2096975871"/>
            <ac:picMk id="4" creationId="{4F5E4A02-AB17-4536-8035-3CF0883E586C}"/>
          </ac:picMkLst>
        </pc:picChg>
        <pc:picChg chg="del mod">
          <ac:chgData name="GSVE (Gianluca Stivale)" userId="b2f3af48-7d3d-4911-89cc-4769d0faa1c3" providerId="ADAL" clId="{A69D1CC3-CC99-4E10-BBB2-CE6DA348629D}" dt="2021-12-15T07:52:22.883" v="1116" actId="478"/>
          <ac:picMkLst>
            <pc:docMk/>
            <pc:sldMk cId="2223235057" sldId="2096975871"/>
            <ac:picMk id="23" creationId="{BF1C2DA2-719D-4C85-A501-FB7306262126}"/>
          </ac:picMkLst>
        </pc:picChg>
        <pc:cxnChg chg="add">
          <ac:chgData name="GSVE (Gianluca Stivale)" userId="b2f3af48-7d3d-4911-89cc-4769d0faa1c3" providerId="ADAL" clId="{A69D1CC3-CC99-4E10-BBB2-CE6DA348629D}" dt="2021-12-17T13:51:41.452" v="8045" actId="11529"/>
          <ac:cxnSpMkLst>
            <pc:docMk/>
            <pc:sldMk cId="2223235057" sldId="2096975871"/>
            <ac:cxnSpMk id="3" creationId="{A3E7DE56-2B6E-4EB2-950B-199257910751}"/>
          </ac:cxnSpMkLst>
        </pc:cxnChg>
        <pc:cxnChg chg="add mod">
          <ac:chgData name="GSVE (Gianluca Stivale)" userId="b2f3af48-7d3d-4911-89cc-4769d0faa1c3" providerId="ADAL" clId="{A69D1CC3-CC99-4E10-BBB2-CE6DA348629D}" dt="2021-12-17T13:51:53.263" v="8049" actId="14100"/>
          <ac:cxnSpMkLst>
            <pc:docMk/>
            <pc:sldMk cId="2223235057" sldId="2096975871"/>
            <ac:cxnSpMk id="12" creationId="{9EE38F00-D3BA-409A-96C6-577F4355F179}"/>
          </ac:cxnSpMkLst>
        </pc:cxnChg>
        <pc:cxnChg chg="add mod">
          <ac:chgData name="GSVE (Gianluca Stivale)" userId="b2f3af48-7d3d-4911-89cc-4769d0faa1c3" providerId="ADAL" clId="{A69D1CC3-CC99-4E10-BBB2-CE6DA348629D}" dt="2021-12-17T14:07:32.179" v="8293" actId="14100"/>
          <ac:cxnSpMkLst>
            <pc:docMk/>
            <pc:sldMk cId="2223235057" sldId="2096975871"/>
            <ac:cxnSpMk id="17" creationId="{E2335BE1-15EB-420C-B9CC-3EAD5DAF3027}"/>
          </ac:cxnSpMkLst>
        </pc:cxnChg>
        <pc:cxnChg chg="add mod">
          <ac:chgData name="GSVE (Gianluca Stivale)" userId="b2f3af48-7d3d-4911-89cc-4769d0faa1c3" providerId="ADAL" clId="{A69D1CC3-CC99-4E10-BBB2-CE6DA348629D}" dt="2021-12-17T14:07:42.453" v="8296" actId="14100"/>
          <ac:cxnSpMkLst>
            <pc:docMk/>
            <pc:sldMk cId="2223235057" sldId="2096975871"/>
            <ac:cxnSpMk id="19" creationId="{854D4FB7-1B68-453C-B34D-6D9ABB3E663A}"/>
          </ac:cxnSpMkLst>
        </pc:cxnChg>
        <pc:cxnChg chg="add mod">
          <ac:chgData name="GSVE (Gianluca Stivale)" userId="b2f3af48-7d3d-4911-89cc-4769d0faa1c3" providerId="ADAL" clId="{A69D1CC3-CC99-4E10-BBB2-CE6DA348629D}" dt="2021-12-17T14:07:52.784" v="8299" actId="14100"/>
          <ac:cxnSpMkLst>
            <pc:docMk/>
            <pc:sldMk cId="2223235057" sldId="2096975871"/>
            <ac:cxnSpMk id="20" creationId="{1B62C99C-3516-4377-AEB0-72A5CF28A58E}"/>
          </ac:cxnSpMkLst>
        </pc:cxnChg>
        <pc:cxnChg chg="add mod">
          <ac:chgData name="GSVE (Gianluca Stivale)" userId="b2f3af48-7d3d-4911-89cc-4769d0faa1c3" providerId="ADAL" clId="{A69D1CC3-CC99-4E10-BBB2-CE6DA348629D}" dt="2021-12-17T14:07:59.185" v="8302" actId="14100"/>
          <ac:cxnSpMkLst>
            <pc:docMk/>
            <pc:sldMk cId="2223235057" sldId="2096975871"/>
            <ac:cxnSpMk id="21" creationId="{74A7F121-EDEA-4209-B68D-843684E9EC2A}"/>
          </ac:cxnSpMkLst>
        </pc:cxnChg>
      </pc:sldChg>
      <pc:sldChg chg="addSp delSp modSp mod modAnim modNotesTx">
        <pc:chgData name="GSVE (Gianluca Stivale)" userId="b2f3af48-7d3d-4911-89cc-4769d0faa1c3" providerId="ADAL" clId="{A69D1CC3-CC99-4E10-BBB2-CE6DA348629D}" dt="2021-12-20T13:29:52.712" v="16203" actId="113"/>
        <pc:sldMkLst>
          <pc:docMk/>
          <pc:sldMk cId="2897088154" sldId="2096975872"/>
        </pc:sldMkLst>
        <pc:spChg chg="add mod">
          <ac:chgData name="GSVE (Gianluca Stivale)" userId="b2f3af48-7d3d-4911-89cc-4769d0faa1c3" providerId="ADAL" clId="{A69D1CC3-CC99-4E10-BBB2-CE6DA348629D}" dt="2021-12-15T08:41:06.621" v="1390" actId="20577"/>
          <ac:spMkLst>
            <pc:docMk/>
            <pc:sldMk cId="2897088154" sldId="2096975872"/>
            <ac:spMk id="8" creationId="{56A5C666-BEE5-422E-BED8-71315B35EF6B}"/>
          </ac:spMkLst>
        </pc:spChg>
        <pc:spChg chg="add mod">
          <ac:chgData name="GSVE (Gianluca Stivale)" userId="b2f3af48-7d3d-4911-89cc-4769d0faa1c3" providerId="ADAL" clId="{A69D1CC3-CC99-4E10-BBB2-CE6DA348629D}" dt="2021-12-16T07:53:05.768" v="2783" actId="6549"/>
          <ac:spMkLst>
            <pc:docMk/>
            <pc:sldMk cId="2897088154" sldId="2096975872"/>
            <ac:spMk id="9" creationId="{CE0AD685-130F-4DAA-8DBA-673BA2B25D68}"/>
          </ac:spMkLst>
        </pc:spChg>
        <pc:spChg chg="add mod">
          <ac:chgData name="GSVE (Gianluca Stivale)" userId="b2f3af48-7d3d-4911-89cc-4769d0faa1c3" providerId="ADAL" clId="{A69D1CC3-CC99-4E10-BBB2-CE6DA348629D}" dt="2021-12-15T07:55:42.700" v="1180" actId="20577"/>
          <ac:spMkLst>
            <pc:docMk/>
            <pc:sldMk cId="2897088154" sldId="2096975872"/>
            <ac:spMk id="10" creationId="{EF22C10E-B116-4BEF-B2ED-0D28C7B35EC9}"/>
          </ac:spMkLst>
        </pc:spChg>
        <pc:spChg chg="add del mod">
          <ac:chgData name="GSVE (Gianluca Stivale)" userId="b2f3af48-7d3d-4911-89cc-4769d0faa1c3" providerId="ADAL" clId="{A69D1CC3-CC99-4E10-BBB2-CE6DA348629D}" dt="2021-12-17T14:34:53.306" v="9888" actId="478"/>
          <ac:spMkLst>
            <pc:docMk/>
            <pc:sldMk cId="2897088154" sldId="2096975872"/>
            <ac:spMk id="14" creationId="{DBE7555F-CB34-46C3-90AC-5A0698C0C574}"/>
          </ac:spMkLst>
        </pc:spChg>
        <pc:spChg chg="add mod">
          <ac:chgData name="GSVE (Gianluca Stivale)" userId="b2f3af48-7d3d-4911-89cc-4769d0faa1c3" providerId="ADAL" clId="{A69D1CC3-CC99-4E10-BBB2-CE6DA348629D}" dt="2021-12-17T14:35:45.029" v="9901" actId="14100"/>
          <ac:spMkLst>
            <pc:docMk/>
            <pc:sldMk cId="2897088154" sldId="2096975872"/>
            <ac:spMk id="17" creationId="{751FC15B-94E4-4ACD-9CDD-66EF46C51813}"/>
          </ac:spMkLst>
        </pc:spChg>
        <pc:spChg chg="mod">
          <ac:chgData name="GSVE (Gianluca Stivale)" userId="b2f3af48-7d3d-4911-89cc-4769d0faa1c3" providerId="ADAL" clId="{A69D1CC3-CC99-4E10-BBB2-CE6DA348629D}" dt="2021-12-15T07:56:24.729" v="1188" actId="1076"/>
          <ac:spMkLst>
            <pc:docMk/>
            <pc:sldMk cId="2897088154" sldId="2096975872"/>
            <ac:spMk id="21" creationId="{51B14C8D-787A-4FEC-82D8-0E1C7637E879}"/>
          </ac:spMkLst>
        </pc:spChg>
        <pc:spChg chg="add mod">
          <ac:chgData name="GSVE (Gianluca Stivale)" userId="b2f3af48-7d3d-4911-89cc-4769d0faa1c3" providerId="ADAL" clId="{A69D1CC3-CC99-4E10-BBB2-CE6DA348629D}" dt="2021-12-17T14:41:50.484" v="9907" actId="1036"/>
          <ac:spMkLst>
            <pc:docMk/>
            <pc:sldMk cId="2897088154" sldId="2096975872"/>
            <ac:spMk id="22" creationId="{5A31CA41-D268-4A15-88FB-075DC187A0E5}"/>
          </ac:spMkLst>
        </pc:spChg>
        <pc:picChg chg="mod">
          <ac:chgData name="GSVE (Gianluca Stivale)" userId="b2f3af48-7d3d-4911-89cc-4769d0faa1c3" providerId="ADAL" clId="{A69D1CC3-CC99-4E10-BBB2-CE6DA348629D}" dt="2021-12-15T07:56:01.950" v="1184" actId="1076"/>
          <ac:picMkLst>
            <pc:docMk/>
            <pc:sldMk cId="2897088154" sldId="2096975872"/>
            <ac:picMk id="3" creationId="{6C3F623A-FCCB-47C7-BF5C-41912A5DE18F}"/>
          </ac:picMkLst>
        </pc:picChg>
        <pc:picChg chg="add del mod">
          <ac:chgData name="GSVE (Gianluca Stivale)" userId="b2f3af48-7d3d-4911-89cc-4769d0faa1c3" providerId="ADAL" clId="{A69D1CC3-CC99-4E10-BBB2-CE6DA348629D}" dt="2021-12-15T07:54:29.591" v="1143" actId="478"/>
          <ac:picMkLst>
            <pc:docMk/>
            <pc:sldMk cId="2897088154" sldId="2096975872"/>
            <ac:picMk id="7" creationId="{A713D40D-02D0-4EA5-ABE6-7E50B5C75B45}"/>
          </ac:picMkLst>
        </pc:picChg>
        <pc:picChg chg="del">
          <ac:chgData name="GSVE (Gianluca Stivale)" userId="b2f3af48-7d3d-4911-89cc-4769d0faa1c3" providerId="ADAL" clId="{A69D1CC3-CC99-4E10-BBB2-CE6DA348629D}" dt="2021-12-10T19:38:35.730" v="115" actId="478"/>
          <ac:picMkLst>
            <pc:docMk/>
            <pc:sldMk cId="2897088154" sldId="2096975872"/>
            <ac:picMk id="12" creationId="{E2DE65B4-1FB2-4F83-A83B-33D455B8072C}"/>
          </ac:picMkLst>
        </pc:picChg>
        <pc:picChg chg="mod modCrop">
          <ac:chgData name="GSVE (Gianluca Stivale)" userId="b2f3af48-7d3d-4911-89cc-4769d0faa1c3" providerId="ADAL" clId="{A69D1CC3-CC99-4E10-BBB2-CE6DA348629D}" dt="2021-12-13T10:55:09.249" v="904" actId="1037"/>
          <ac:picMkLst>
            <pc:docMk/>
            <pc:sldMk cId="2897088154" sldId="2096975872"/>
            <ac:picMk id="19" creationId="{4591212E-2E53-4E7A-9F82-4A0FD260BB4A}"/>
          </ac:picMkLst>
        </pc:picChg>
        <pc:cxnChg chg="add mod">
          <ac:chgData name="GSVE (Gianluca Stivale)" userId="b2f3af48-7d3d-4911-89cc-4769d0faa1c3" providerId="ADAL" clId="{A69D1CC3-CC99-4E10-BBB2-CE6DA348629D}" dt="2021-12-17T13:52:55.479" v="8052" actId="14100"/>
          <ac:cxnSpMkLst>
            <pc:docMk/>
            <pc:sldMk cId="2897088154" sldId="2096975872"/>
            <ac:cxnSpMk id="11" creationId="{0FE5A532-1E5E-4662-9F46-4AE7E5EFD600}"/>
          </ac:cxnSpMkLst>
        </pc:cxnChg>
        <pc:cxnChg chg="add mod">
          <ac:chgData name="GSVE (Gianluca Stivale)" userId="b2f3af48-7d3d-4911-89cc-4769d0faa1c3" providerId="ADAL" clId="{A69D1CC3-CC99-4E10-BBB2-CE6DA348629D}" dt="2021-12-17T13:53:06.323" v="8055" actId="14100"/>
          <ac:cxnSpMkLst>
            <pc:docMk/>
            <pc:sldMk cId="2897088154" sldId="2096975872"/>
            <ac:cxnSpMk id="12" creationId="{DD3EC4EE-6C94-4040-B3F2-349C9474FE2C}"/>
          </ac:cxnSpMkLst>
        </pc:cxnChg>
        <pc:cxnChg chg="add mod">
          <ac:chgData name="GSVE (Gianluca Stivale)" userId="b2f3af48-7d3d-4911-89cc-4769d0faa1c3" providerId="ADAL" clId="{A69D1CC3-CC99-4E10-BBB2-CE6DA348629D}" dt="2021-12-17T14:06:49.129" v="8282" actId="14100"/>
          <ac:cxnSpMkLst>
            <pc:docMk/>
            <pc:sldMk cId="2897088154" sldId="2096975872"/>
            <ac:cxnSpMk id="13" creationId="{30C5BC8B-C31F-48DA-966A-EA5560E96EB1}"/>
          </ac:cxnSpMkLst>
        </pc:cxnChg>
        <pc:cxnChg chg="add mod">
          <ac:chgData name="GSVE (Gianluca Stivale)" userId="b2f3af48-7d3d-4911-89cc-4769d0faa1c3" providerId="ADAL" clId="{A69D1CC3-CC99-4E10-BBB2-CE6DA348629D}" dt="2021-12-17T14:06:55.408" v="8284" actId="1076"/>
          <ac:cxnSpMkLst>
            <pc:docMk/>
            <pc:sldMk cId="2897088154" sldId="2096975872"/>
            <ac:cxnSpMk id="15" creationId="{F5EBA828-B0FB-423A-9674-1DF654599FB9}"/>
          </ac:cxnSpMkLst>
        </pc:cxnChg>
        <pc:cxnChg chg="add mod">
          <ac:chgData name="GSVE (Gianluca Stivale)" userId="b2f3af48-7d3d-4911-89cc-4769d0faa1c3" providerId="ADAL" clId="{A69D1CC3-CC99-4E10-BBB2-CE6DA348629D}" dt="2021-12-17T14:07:09.056" v="8287" actId="14100"/>
          <ac:cxnSpMkLst>
            <pc:docMk/>
            <pc:sldMk cId="2897088154" sldId="2096975872"/>
            <ac:cxnSpMk id="16" creationId="{11BB322A-F33A-48EA-9CB9-1969DF8E2BE3}"/>
          </ac:cxnSpMkLst>
        </pc:cxnChg>
        <pc:cxnChg chg="add mod">
          <ac:chgData name="GSVE (Gianluca Stivale)" userId="b2f3af48-7d3d-4911-89cc-4769d0faa1c3" providerId="ADAL" clId="{A69D1CC3-CC99-4E10-BBB2-CE6DA348629D}" dt="2021-12-17T14:07:17.578" v="8290" actId="14100"/>
          <ac:cxnSpMkLst>
            <pc:docMk/>
            <pc:sldMk cId="2897088154" sldId="2096975872"/>
            <ac:cxnSpMk id="18" creationId="{1AF16F6B-5378-46CF-915A-F2D22D7E7AA8}"/>
          </ac:cxnSpMkLst>
        </pc:cxnChg>
      </pc:sldChg>
      <pc:sldChg chg="modSp mod modShow modNotesTx">
        <pc:chgData name="GSVE (Gianluca Stivale)" userId="b2f3af48-7d3d-4911-89cc-4769d0faa1c3" providerId="ADAL" clId="{A69D1CC3-CC99-4E10-BBB2-CE6DA348629D}" dt="2021-12-17T15:45:35.510" v="9914" actId="729"/>
        <pc:sldMkLst>
          <pc:docMk/>
          <pc:sldMk cId="2608482495" sldId="2096975873"/>
        </pc:sldMkLst>
        <pc:picChg chg="mod">
          <ac:chgData name="GSVE (Gianluca Stivale)" userId="b2f3af48-7d3d-4911-89cc-4769d0faa1c3" providerId="ADAL" clId="{A69D1CC3-CC99-4E10-BBB2-CE6DA348629D}" dt="2021-12-13T07:28:04.263" v="841" actId="1035"/>
          <ac:picMkLst>
            <pc:docMk/>
            <pc:sldMk cId="2608482495" sldId="2096975873"/>
            <ac:picMk id="4" creationId="{664C684D-8DF0-452B-8719-C647FB7701DB}"/>
          </ac:picMkLst>
        </pc:picChg>
      </pc:sldChg>
      <pc:sldChg chg="addSp delSp modSp mod ord modShow modNotesTx">
        <pc:chgData name="GSVE (Gianluca Stivale)" userId="b2f3af48-7d3d-4911-89cc-4769d0faa1c3" providerId="ADAL" clId="{A69D1CC3-CC99-4E10-BBB2-CE6DA348629D}" dt="2021-12-20T15:43:06.113" v="16586" actId="1036"/>
        <pc:sldMkLst>
          <pc:docMk/>
          <pc:sldMk cId="1548391576" sldId="2134804769"/>
        </pc:sldMkLst>
        <pc:spChg chg="add del mod">
          <ac:chgData name="GSVE (Gianluca Stivale)" userId="b2f3af48-7d3d-4911-89cc-4769d0faa1c3" providerId="ADAL" clId="{A69D1CC3-CC99-4E10-BBB2-CE6DA348629D}" dt="2021-12-20T15:42:57.437" v="16579" actId="478"/>
          <ac:spMkLst>
            <pc:docMk/>
            <pc:sldMk cId="1548391576" sldId="2134804769"/>
            <ac:spMk id="10" creationId="{55997AC2-F4AC-4B5C-8B08-3A725961DD3B}"/>
          </ac:spMkLst>
        </pc:spChg>
        <pc:spChg chg="add mod">
          <ac:chgData name="GSVE (Gianluca Stivale)" userId="b2f3af48-7d3d-4911-89cc-4769d0faa1c3" providerId="ADAL" clId="{A69D1CC3-CC99-4E10-BBB2-CE6DA348629D}" dt="2021-12-20T15:43:06.113" v="16586" actId="1036"/>
          <ac:spMkLst>
            <pc:docMk/>
            <pc:sldMk cId="1548391576" sldId="2134804769"/>
            <ac:spMk id="11" creationId="{16CF3D38-AADD-4886-8C8E-208DCD1CB367}"/>
          </ac:spMkLst>
        </pc:spChg>
      </pc:sldChg>
      <pc:sldChg chg="addSp delSp modSp mod ord modShow">
        <pc:chgData name="GSVE (Gianluca Stivale)" userId="b2f3af48-7d3d-4911-89cc-4769d0faa1c3" providerId="ADAL" clId="{A69D1CC3-CC99-4E10-BBB2-CE6DA348629D}" dt="2021-12-16T14:37:23.800" v="3677" actId="729"/>
        <pc:sldMkLst>
          <pc:docMk/>
          <pc:sldMk cId="1940746199" sldId="2134804772"/>
        </pc:sldMkLst>
        <pc:spChg chg="add del mod">
          <ac:chgData name="GSVE (Gianluca Stivale)" userId="b2f3af48-7d3d-4911-89cc-4769d0faa1c3" providerId="ADAL" clId="{A69D1CC3-CC99-4E10-BBB2-CE6DA348629D}" dt="2021-12-15T14:08:23.194" v="1834" actId="6549"/>
          <ac:spMkLst>
            <pc:docMk/>
            <pc:sldMk cId="1940746199" sldId="2134804772"/>
            <ac:spMk id="7" creationId="{FBF1EB45-ED0A-420E-BB24-86F592945A6D}"/>
          </ac:spMkLst>
        </pc:spChg>
        <pc:spChg chg="add mod">
          <ac:chgData name="GSVE (Gianluca Stivale)" userId="b2f3af48-7d3d-4911-89cc-4769d0faa1c3" providerId="ADAL" clId="{A69D1CC3-CC99-4E10-BBB2-CE6DA348629D}" dt="2021-12-10T20:32:19.942" v="352" actId="14100"/>
          <ac:spMkLst>
            <pc:docMk/>
            <pc:sldMk cId="1940746199" sldId="2134804772"/>
            <ac:spMk id="12" creationId="{E05D0FA3-1485-42F8-A3C9-905D0A818D38}"/>
          </ac:spMkLst>
        </pc:spChg>
      </pc:sldChg>
      <pc:sldChg chg="delSp modSp del mod">
        <pc:chgData name="GSVE (Gianluca Stivale)" userId="b2f3af48-7d3d-4911-89cc-4769d0faa1c3" providerId="ADAL" clId="{A69D1CC3-CC99-4E10-BBB2-CE6DA348629D}" dt="2021-12-15T16:17:17.711" v="1947" actId="47"/>
        <pc:sldMkLst>
          <pc:docMk/>
          <pc:sldMk cId="1711871786" sldId="2134804803"/>
        </pc:sldMkLst>
        <pc:spChg chg="del">
          <ac:chgData name="GSVE (Gianluca Stivale)" userId="b2f3af48-7d3d-4911-89cc-4769d0faa1c3" providerId="ADAL" clId="{A69D1CC3-CC99-4E10-BBB2-CE6DA348629D}" dt="2021-12-10T19:42:05.627" v="147" actId="478"/>
          <ac:spMkLst>
            <pc:docMk/>
            <pc:sldMk cId="1711871786" sldId="2134804803"/>
            <ac:spMk id="3" creationId="{D3D8126F-0F9E-4394-B38D-DF34163CA571}"/>
          </ac:spMkLst>
        </pc:spChg>
        <pc:picChg chg="mod">
          <ac:chgData name="GSVE (Gianluca Stivale)" userId="b2f3af48-7d3d-4911-89cc-4769d0faa1c3" providerId="ADAL" clId="{A69D1CC3-CC99-4E10-BBB2-CE6DA348629D}" dt="2021-12-10T20:10:42.517" v="335" actId="1076"/>
          <ac:picMkLst>
            <pc:docMk/>
            <pc:sldMk cId="1711871786" sldId="2134804803"/>
            <ac:picMk id="5" creationId="{3CC32C18-8C95-4C30-BD5B-83172633BEDB}"/>
          </ac:picMkLst>
        </pc:picChg>
      </pc:sldChg>
      <pc:sldChg chg="addSp delSp modSp mod ord modShow">
        <pc:chgData name="GSVE (Gianluca Stivale)" userId="b2f3af48-7d3d-4911-89cc-4769d0faa1c3" providerId="ADAL" clId="{A69D1CC3-CC99-4E10-BBB2-CE6DA348629D}" dt="2021-12-20T07:59:08.479" v="10458"/>
        <pc:sldMkLst>
          <pc:docMk/>
          <pc:sldMk cId="559646865" sldId="2134804807"/>
        </pc:sldMkLst>
        <pc:spChg chg="add del">
          <ac:chgData name="GSVE (Gianluca Stivale)" userId="b2f3af48-7d3d-4911-89cc-4769d0faa1c3" providerId="ADAL" clId="{A69D1CC3-CC99-4E10-BBB2-CE6DA348629D}" dt="2021-12-15T15:11:07.641" v="1891" actId="478"/>
          <ac:spMkLst>
            <pc:docMk/>
            <pc:sldMk cId="559646865" sldId="2134804807"/>
            <ac:spMk id="7" creationId="{68BA5B1C-400A-415B-BBD6-EBE799C7329D}"/>
          </ac:spMkLst>
        </pc:spChg>
        <pc:spChg chg="add mod">
          <ac:chgData name="GSVE (Gianluca Stivale)" userId="b2f3af48-7d3d-4911-89cc-4769d0faa1c3" providerId="ADAL" clId="{A69D1CC3-CC99-4E10-BBB2-CE6DA348629D}" dt="2021-12-15T15:11:21.228" v="1911" actId="20577"/>
          <ac:spMkLst>
            <pc:docMk/>
            <pc:sldMk cId="559646865" sldId="2134804807"/>
            <ac:spMk id="9" creationId="{44E8EAC8-058F-4441-ABB6-EC51587E351F}"/>
          </ac:spMkLst>
        </pc:spChg>
        <pc:picChg chg="add mod">
          <ac:chgData name="GSVE (Gianluca Stivale)" userId="b2f3af48-7d3d-4911-89cc-4769d0faa1c3" providerId="ADAL" clId="{A69D1CC3-CC99-4E10-BBB2-CE6DA348629D}" dt="2021-12-15T15:50:05.673" v="1940" actId="1076"/>
          <ac:picMkLst>
            <pc:docMk/>
            <pc:sldMk cId="559646865" sldId="2134804807"/>
            <ac:picMk id="3" creationId="{DF98CBAA-8397-4958-A766-6BB280E06D35}"/>
          </ac:picMkLst>
        </pc:picChg>
        <pc:picChg chg="mod">
          <ac:chgData name="GSVE (Gianluca Stivale)" userId="b2f3af48-7d3d-4911-89cc-4769d0faa1c3" providerId="ADAL" clId="{A69D1CC3-CC99-4E10-BBB2-CE6DA348629D}" dt="2021-12-15T15:10:39.957" v="1887" actId="1076"/>
          <ac:picMkLst>
            <pc:docMk/>
            <pc:sldMk cId="559646865" sldId="2134804807"/>
            <ac:picMk id="6" creationId="{981A9F42-FAF6-4E60-80B4-832835CBAA1C}"/>
          </ac:picMkLst>
        </pc:picChg>
        <pc:picChg chg="del">
          <ac:chgData name="GSVE (Gianluca Stivale)" userId="b2f3af48-7d3d-4911-89cc-4769d0faa1c3" providerId="ADAL" clId="{A69D1CC3-CC99-4E10-BBB2-CE6DA348629D}" dt="2021-12-15T15:10:06.081" v="1880" actId="478"/>
          <ac:picMkLst>
            <pc:docMk/>
            <pc:sldMk cId="559646865" sldId="2134804807"/>
            <ac:picMk id="8" creationId="{AD9FDD08-EEE4-4BAA-87B6-FC6C29F67C85}"/>
          </ac:picMkLst>
        </pc:picChg>
      </pc:sldChg>
      <pc:sldChg chg="del">
        <pc:chgData name="GSVE (Gianluca Stivale)" userId="b2f3af48-7d3d-4911-89cc-4769d0faa1c3" providerId="ADAL" clId="{A69D1CC3-CC99-4E10-BBB2-CE6DA348629D}" dt="2021-12-10T20:09:35.255" v="334" actId="47"/>
        <pc:sldMkLst>
          <pc:docMk/>
          <pc:sldMk cId="2457472771" sldId="2134804808"/>
        </pc:sldMkLst>
      </pc:sldChg>
      <pc:sldChg chg="addSp delSp modSp mod ord modShow">
        <pc:chgData name="GSVE (Gianluca Stivale)" userId="b2f3af48-7d3d-4911-89cc-4769d0faa1c3" providerId="ADAL" clId="{A69D1CC3-CC99-4E10-BBB2-CE6DA348629D}" dt="2021-12-17T08:09:39.153" v="4798"/>
        <pc:sldMkLst>
          <pc:docMk/>
          <pc:sldMk cId="3879202192" sldId="2134804943"/>
        </pc:sldMkLst>
        <pc:spChg chg="del mod">
          <ac:chgData name="GSVE (Gianluca Stivale)" userId="b2f3af48-7d3d-4911-89cc-4769d0faa1c3" providerId="ADAL" clId="{A69D1CC3-CC99-4E10-BBB2-CE6DA348629D}" dt="2021-12-10T19:44:55.950" v="196" actId="478"/>
          <ac:spMkLst>
            <pc:docMk/>
            <pc:sldMk cId="3879202192" sldId="2134804943"/>
            <ac:spMk id="2" creationId="{9CDE952E-A972-41DE-8FC7-C17223C60099}"/>
          </ac:spMkLst>
        </pc:spChg>
        <pc:spChg chg="add del mod">
          <ac:chgData name="GSVE (Gianluca Stivale)" userId="b2f3af48-7d3d-4911-89cc-4769d0faa1c3" providerId="ADAL" clId="{A69D1CC3-CC99-4E10-BBB2-CE6DA348629D}" dt="2021-12-10T19:44:58.680" v="197" actId="478"/>
          <ac:spMkLst>
            <pc:docMk/>
            <pc:sldMk cId="3879202192" sldId="2134804943"/>
            <ac:spMk id="4" creationId="{FEF5929E-6417-41F0-AEAC-E5715D21AB9D}"/>
          </ac:spMkLst>
        </pc:spChg>
        <pc:spChg chg="add mod">
          <ac:chgData name="GSVE (Gianluca Stivale)" userId="b2f3af48-7d3d-4911-89cc-4769d0faa1c3" providerId="ADAL" clId="{A69D1CC3-CC99-4E10-BBB2-CE6DA348629D}" dt="2021-12-10T19:44:05.007" v="193" actId="20577"/>
          <ac:spMkLst>
            <pc:docMk/>
            <pc:sldMk cId="3879202192" sldId="2134804943"/>
            <ac:spMk id="9" creationId="{574BC36C-A794-4B70-8940-8ED554E77EBF}"/>
          </ac:spMkLst>
        </pc:spChg>
        <pc:spChg chg="add mod">
          <ac:chgData name="GSVE (Gianluca Stivale)" userId="b2f3af48-7d3d-4911-89cc-4769d0faa1c3" providerId="ADAL" clId="{A69D1CC3-CC99-4E10-BBB2-CE6DA348629D}" dt="2021-12-10T19:44:12.525" v="195"/>
          <ac:spMkLst>
            <pc:docMk/>
            <pc:sldMk cId="3879202192" sldId="2134804943"/>
            <ac:spMk id="10" creationId="{69A77D36-EC05-4938-BE87-BC46DEFBC7BF}"/>
          </ac:spMkLst>
        </pc:spChg>
        <pc:picChg chg="mod">
          <ac:chgData name="GSVE (Gianluca Stivale)" userId="b2f3af48-7d3d-4911-89cc-4769d0faa1c3" providerId="ADAL" clId="{A69D1CC3-CC99-4E10-BBB2-CE6DA348629D}" dt="2021-12-15T14:15:55.766" v="1840" actId="1076"/>
          <ac:picMkLst>
            <pc:docMk/>
            <pc:sldMk cId="3879202192" sldId="2134804943"/>
            <ac:picMk id="6" creationId="{8E4F99F4-E883-4819-B6EE-676314BB0F2A}"/>
          </ac:picMkLst>
        </pc:picChg>
        <pc:picChg chg="del mod">
          <ac:chgData name="GSVE (Gianluca Stivale)" userId="b2f3af48-7d3d-4911-89cc-4769d0faa1c3" providerId="ADAL" clId="{A69D1CC3-CC99-4E10-BBB2-CE6DA348629D}" dt="2021-12-15T14:14:53.203" v="1837" actId="478"/>
          <ac:picMkLst>
            <pc:docMk/>
            <pc:sldMk cId="3879202192" sldId="2134804943"/>
            <ac:picMk id="8" creationId="{2A7191FF-CAA8-4055-A56B-A434E8A1B513}"/>
          </ac:picMkLst>
        </pc:picChg>
      </pc:sldChg>
      <pc:sldChg chg="addSp delSp modSp del mod ord modNotesTx">
        <pc:chgData name="GSVE (Gianluca Stivale)" userId="b2f3af48-7d3d-4911-89cc-4769d0faa1c3" providerId="ADAL" clId="{A69D1CC3-CC99-4E10-BBB2-CE6DA348629D}" dt="2021-12-15T17:24:17.723" v="2258" actId="47"/>
        <pc:sldMkLst>
          <pc:docMk/>
          <pc:sldMk cId="123478126" sldId="2134804946"/>
        </pc:sldMkLst>
        <pc:spChg chg="add mod">
          <ac:chgData name="GSVE (Gianluca Stivale)" userId="b2f3af48-7d3d-4911-89cc-4769d0faa1c3" providerId="ADAL" clId="{A69D1CC3-CC99-4E10-BBB2-CE6DA348629D}" dt="2021-12-15T17:22:38.756" v="2249" actId="164"/>
          <ac:spMkLst>
            <pc:docMk/>
            <pc:sldMk cId="123478126" sldId="2134804946"/>
            <ac:spMk id="3" creationId="{3C0A1DA0-9654-4978-953D-A1C671A3109D}"/>
          </ac:spMkLst>
        </pc:spChg>
        <pc:spChg chg="add mod">
          <ac:chgData name="GSVE (Gianluca Stivale)" userId="b2f3af48-7d3d-4911-89cc-4769d0faa1c3" providerId="ADAL" clId="{A69D1CC3-CC99-4E10-BBB2-CE6DA348629D}" dt="2021-12-15T16:59:09.283" v="2111" actId="20577"/>
          <ac:spMkLst>
            <pc:docMk/>
            <pc:sldMk cId="123478126" sldId="2134804946"/>
            <ac:spMk id="9" creationId="{DB70C739-0DAA-42C4-8D9E-078373524158}"/>
          </ac:spMkLst>
        </pc:spChg>
        <pc:spChg chg="add mod">
          <ac:chgData name="GSVE (Gianluca Stivale)" userId="b2f3af48-7d3d-4911-89cc-4769d0faa1c3" providerId="ADAL" clId="{A69D1CC3-CC99-4E10-BBB2-CE6DA348629D}" dt="2021-12-15T16:35:31.940" v="2025" actId="113"/>
          <ac:spMkLst>
            <pc:docMk/>
            <pc:sldMk cId="123478126" sldId="2134804946"/>
            <ac:spMk id="11" creationId="{09365F2F-DAAF-409F-A616-D22FA219F24A}"/>
          </ac:spMkLst>
        </pc:spChg>
        <pc:spChg chg="add">
          <ac:chgData name="GSVE (Gianluca Stivale)" userId="b2f3af48-7d3d-4911-89cc-4769d0faa1c3" providerId="ADAL" clId="{A69D1CC3-CC99-4E10-BBB2-CE6DA348629D}" dt="2021-12-15T16:59:03.987" v="2109" actId="22"/>
          <ac:spMkLst>
            <pc:docMk/>
            <pc:sldMk cId="123478126" sldId="2134804946"/>
            <ac:spMk id="13" creationId="{9F564F62-F770-4CA3-9C6F-C6F1F717A5CD}"/>
          </ac:spMkLst>
        </pc:spChg>
        <pc:spChg chg="add mod">
          <ac:chgData name="GSVE (Gianluca Stivale)" userId="b2f3af48-7d3d-4911-89cc-4769d0faa1c3" providerId="ADAL" clId="{A69D1CC3-CC99-4E10-BBB2-CE6DA348629D}" dt="2021-12-15T17:22:38.756" v="2249" actId="164"/>
          <ac:spMkLst>
            <pc:docMk/>
            <pc:sldMk cId="123478126" sldId="2134804946"/>
            <ac:spMk id="14" creationId="{852D7AE8-0532-4C0F-8368-28AE80453272}"/>
          </ac:spMkLst>
        </pc:spChg>
        <pc:grpChg chg="add mod">
          <ac:chgData name="GSVE (Gianluca Stivale)" userId="b2f3af48-7d3d-4911-89cc-4769d0faa1c3" providerId="ADAL" clId="{A69D1CC3-CC99-4E10-BBB2-CE6DA348629D}" dt="2021-12-15T17:22:38.756" v="2249" actId="164"/>
          <ac:grpSpMkLst>
            <pc:docMk/>
            <pc:sldMk cId="123478126" sldId="2134804946"/>
            <ac:grpSpMk id="4" creationId="{1A3C65AF-A0F3-4374-BAC5-1BBAC2DD48B5}"/>
          </ac:grpSpMkLst>
        </pc:grpChg>
        <pc:picChg chg="del mod modCrop">
          <ac:chgData name="GSVE (Gianluca Stivale)" userId="b2f3af48-7d3d-4911-89cc-4769d0faa1c3" providerId="ADAL" clId="{A69D1CC3-CC99-4E10-BBB2-CE6DA348629D}" dt="2021-12-15T07:48:42.920" v="1100" actId="478"/>
          <ac:picMkLst>
            <pc:docMk/>
            <pc:sldMk cId="123478126" sldId="2134804946"/>
            <ac:picMk id="6" creationId="{72989B6C-3C17-4F15-81E6-99B5B8211542}"/>
          </ac:picMkLst>
        </pc:picChg>
        <pc:picChg chg="mod">
          <ac:chgData name="GSVE (Gianluca Stivale)" userId="b2f3af48-7d3d-4911-89cc-4769d0faa1c3" providerId="ADAL" clId="{A69D1CC3-CC99-4E10-BBB2-CE6DA348629D}" dt="2021-12-15T07:48:48.722" v="1101" actId="1076"/>
          <ac:picMkLst>
            <pc:docMk/>
            <pc:sldMk cId="123478126" sldId="2134804946"/>
            <ac:picMk id="8" creationId="{3A043540-09D3-4294-86E5-02F5746C34AC}"/>
          </ac:picMkLst>
        </pc:picChg>
        <pc:picChg chg="mod modCrop">
          <ac:chgData name="GSVE (Gianluca Stivale)" userId="b2f3af48-7d3d-4911-89cc-4769d0faa1c3" providerId="ADAL" clId="{A69D1CC3-CC99-4E10-BBB2-CE6DA348629D}" dt="2021-12-15T17:22:58.909" v="2251" actId="732"/>
          <ac:picMkLst>
            <pc:docMk/>
            <pc:sldMk cId="123478126" sldId="2134804946"/>
            <ac:picMk id="12" creationId="{762BF530-EAE9-4E20-9870-0642C974A398}"/>
          </ac:picMkLst>
        </pc:picChg>
      </pc:sldChg>
      <pc:sldChg chg="addSp delSp modSp add mod modAnim">
        <pc:chgData name="GSVE (Gianluca Stivale)" userId="b2f3af48-7d3d-4911-89cc-4769d0faa1c3" providerId="ADAL" clId="{A69D1CC3-CC99-4E10-BBB2-CE6DA348629D}" dt="2021-12-20T17:03:15.489" v="17001" actId="1036"/>
        <pc:sldMkLst>
          <pc:docMk/>
          <pc:sldMk cId="1568060900" sldId="2134804947"/>
        </pc:sldMkLst>
        <pc:spChg chg="add mod or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2" creationId="{9D179A5C-342A-489D-8747-FE26AC278CDB}"/>
          </ac:spMkLst>
        </pc:spChg>
        <pc:spChg chg="add mod or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3" creationId="{EF5DFDC9-52FF-4AED-ADA5-3817872C8F5C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7" creationId="{FBF1EB45-ED0A-420E-BB24-86F592945A6D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8" creationId="{7F625123-0472-4038-B741-E9F421F03502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9" creationId="{639A892F-F41C-4BC0-AF09-FB23908408C7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10" creationId="{BF812194-BA7A-4778-90B0-EAFE2ADB2000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11" creationId="{D77FFE9E-249A-411B-BD36-B35F6DFC3E53}"/>
          </ac:spMkLst>
        </pc:spChg>
        <pc:spChg chg="add mo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12" creationId="{24118C81-5D4C-44AC-AC2B-F489B1E79D53}"/>
          </ac:spMkLst>
        </pc:spChg>
        <pc:spChg chg="del">
          <ac:chgData name="GSVE (Gianluca Stivale)" userId="b2f3af48-7d3d-4911-89cc-4769d0faa1c3" providerId="ADAL" clId="{A69D1CC3-CC99-4E10-BBB2-CE6DA348629D}" dt="2021-12-10T20:32:03.997" v="347" actId="478"/>
          <ac:spMkLst>
            <pc:docMk/>
            <pc:sldMk cId="1568060900" sldId="2134804947"/>
            <ac:spMk id="13" creationId="{E2BAB192-A100-4D75-8ABA-88033FFC62B1}"/>
          </ac:spMkLst>
        </pc:spChg>
        <pc:spChg chg="add mo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14" creationId="{67830073-CB4A-4CB8-874B-60AB6C7B47B7}"/>
          </ac:spMkLst>
        </pc:spChg>
        <pc:spChg chg="add mod or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15" creationId="{C99AEDC9-9756-4934-8EF6-A8F3BA1B4268}"/>
          </ac:spMkLst>
        </pc:spChg>
        <pc:spChg chg="add mo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16" creationId="{161D1955-164D-45CE-9EC8-65A92FFEA866}"/>
          </ac:spMkLst>
        </pc:spChg>
        <pc:spChg chg="add mod ord">
          <ac:chgData name="GSVE (Gianluca Stivale)" userId="b2f3af48-7d3d-4911-89cc-4769d0faa1c3" providerId="ADAL" clId="{A69D1CC3-CC99-4E10-BBB2-CE6DA348629D}" dt="2021-12-20T17:03:15.489" v="17001" actId="1036"/>
          <ac:spMkLst>
            <pc:docMk/>
            <pc:sldMk cId="1568060900" sldId="2134804947"/>
            <ac:spMk id="17" creationId="{F6C25A65-17F7-498F-8987-92FE851DD291}"/>
          </ac:spMkLst>
        </pc:spChg>
        <pc:spChg chg="add mo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18" creationId="{9F09B9AD-1A12-4746-8DDD-330A8D560A5A}"/>
          </ac:spMkLst>
        </pc:spChg>
        <pc:spChg chg="add mod or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19" creationId="{8A2624F5-BE2F-464B-93CA-EB17AE16B5EC}"/>
          </ac:spMkLst>
        </pc:spChg>
        <pc:spChg chg="add mod or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20" creationId="{B28A888A-6B7C-4E03-A494-8C7FCFA9A167}"/>
          </ac:spMkLst>
        </pc:spChg>
        <pc:spChg chg="add mod or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21" creationId="{0FBFACED-730B-464A-81DD-9C95249B1E0A}"/>
          </ac:spMkLst>
        </pc:spChg>
        <pc:spChg chg="add mod ord">
          <ac:chgData name="GSVE (Gianluca Stivale)" userId="b2f3af48-7d3d-4911-89cc-4769d0faa1c3" providerId="ADAL" clId="{A69D1CC3-CC99-4E10-BBB2-CE6DA348629D}" dt="2021-12-10T20:56:17.902" v="737" actId="1035"/>
          <ac:spMkLst>
            <pc:docMk/>
            <pc:sldMk cId="1568060900" sldId="2134804947"/>
            <ac:spMk id="22" creationId="{7990C6F7-819F-407F-9A33-677904066330}"/>
          </ac:spMkLst>
        </pc:spChg>
        <pc:spChg chg="add mod or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23" creationId="{1D2A09C0-98E2-42C0-9A4F-560920CDC71B}"/>
          </ac:spMkLst>
        </pc:spChg>
        <pc:spChg chg="add mod ord">
          <ac:chgData name="GSVE (Gianluca Stivale)" userId="b2f3af48-7d3d-4911-89cc-4769d0faa1c3" providerId="ADAL" clId="{A69D1CC3-CC99-4E10-BBB2-CE6DA348629D}" dt="2021-12-10T20:56:12.516" v="733" actId="1036"/>
          <ac:spMkLst>
            <pc:docMk/>
            <pc:sldMk cId="1568060900" sldId="2134804947"/>
            <ac:spMk id="24" creationId="{4B1FD301-8501-41D4-9288-C209EE0D25F2}"/>
          </ac:spMkLst>
        </pc:spChg>
        <pc:picChg chg="del">
          <ac:chgData name="GSVE (Gianluca Stivale)" userId="b2f3af48-7d3d-4911-89cc-4769d0faa1c3" providerId="ADAL" clId="{A69D1CC3-CC99-4E10-BBB2-CE6DA348629D}" dt="2021-12-10T20:32:02.513" v="346" actId="478"/>
          <ac:picMkLst>
            <pc:docMk/>
            <pc:sldMk cId="1568060900" sldId="2134804947"/>
            <ac:picMk id="5" creationId="{37B8AC6B-C552-482F-9A22-24CB95001A32}"/>
          </ac:picMkLst>
        </pc:picChg>
        <pc:picChg chg="del">
          <ac:chgData name="GSVE (Gianluca Stivale)" userId="b2f3af48-7d3d-4911-89cc-4769d0faa1c3" providerId="ADAL" clId="{A69D1CC3-CC99-4E10-BBB2-CE6DA348629D}" dt="2021-12-10T20:32:02.006" v="345" actId="478"/>
          <ac:picMkLst>
            <pc:docMk/>
            <pc:sldMk cId="1568060900" sldId="2134804947"/>
            <ac:picMk id="6" creationId="{751216C4-6324-404B-BC9E-69109F42E234}"/>
          </ac:picMkLst>
        </pc:picChg>
      </pc:sldChg>
      <pc:sldChg chg="delSp modSp add mod">
        <pc:chgData name="GSVE (Gianluca Stivale)" userId="b2f3af48-7d3d-4911-89cc-4769d0faa1c3" providerId="ADAL" clId="{A69D1CC3-CC99-4E10-BBB2-CE6DA348629D}" dt="2021-12-10T20:54:48.440" v="715" actId="1076"/>
        <pc:sldMkLst>
          <pc:docMk/>
          <pc:sldMk cId="734848381" sldId="2134804948"/>
        </pc:sldMkLst>
        <pc:spChg chg="del">
          <ac:chgData name="GSVE (Gianluca Stivale)" userId="b2f3af48-7d3d-4911-89cc-4769d0faa1c3" providerId="ADAL" clId="{A69D1CC3-CC99-4E10-BBB2-CE6DA348629D}" dt="2021-12-10T20:54:44.627" v="714" actId="478"/>
          <ac:spMkLst>
            <pc:docMk/>
            <pc:sldMk cId="734848381" sldId="2134804948"/>
            <ac:spMk id="7" creationId="{645DEE74-8650-42A1-B03B-F977D507E781}"/>
          </ac:spMkLst>
        </pc:spChg>
        <pc:picChg chg="mod">
          <ac:chgData name="GSVE (Gianluca Stivale)" userId="b2f3af48-7d3d-4911-89cc-4769d0faa1c3" providerId="ADAL" clId="{A69D1CC3-CC99-4E10-BBB2-CE6DA348629D}" dt="2021-12-10T20:54:48.440" v="715" actId="1076"/>
          <ac:picMkLst>
            <pc:docMk/>
            <pc:sldMk cId="734848381" sldId="2134804948"/>
            <ac:picMk id="3" creationId="{F873830E-03AE-4C9F-B09D-3601EF52CA81}"/>
          </ac:picMkLst>
        </pc:picChg>
      </pc:sldChg>
      <pc:sldChg chg="mod ord modShow">
        <pc:chgData name="GSVE (Gianluca Stivale)" userId="b2f3af48-7d3d-4911-89cc-4769d0faa1c3" providerId="ADAL" clId="{A69D1CC3-CC99-4E10-BBB2-CE6DA348629D}" dt="2021-12-20T07:59:12.656" v="10460"/>
        <pc:sldMkLst>
          <pc:docMk/>
          <pc:sldMk cId="1697228837" sldId="2134804962"/>
        </pc:sldMkLst>
      </pc:sldChg>
      <pc:sldChg chg="addSp delSp modSp add mod ord modAnim modNotesTx">
        <pc:chgData name="GSVE (Gianluca Stivale)" userId="b2f3af48-7d3d-4911-89cc-4769d0faa1c3" providerId="ADAL" clId="{A69D1CC3-CC99-4E10-BBB2-CE6DA348629D}" dt="2021-12-20T11:16:16.729" v="14952" actId="6549"/>
        <pc:sldMkLst>
          <pc:docMk/>
          <pc:sldMk cId="4036675726" sldId="2134959157"/>
        </pc:sldMkLst>
        <pc:spChg chg="del mod">
          <ac:chgData name="GSVE (Gianluca Stivale)" userId="b2f3af48-7d3d-4911-89cc-4769d0faa1c3" providerId="ADAL" clId="{A69D1CC3-CC99-4E10-BBB2-CE6DA348629D}" dt="2021-12-13T07:18:23.206" v="775" actId="478"/>
          <ac:spMkLst>
            <pc:docMk/>
            <pc:sldMk cId="4036675726" sldId="2134959157"/>
            <ac:spMk id="4" creationId="{D494A95B-7C99-4DC3-B338-E162DABCE4BB}"/>
          </ac:spMkLst>
        </pc:spChg>
        <pc:spChg chg="add mod">
          <ac:chgData name="GSVE (Gianluca Stivale)" userId="b2f3af48-7d3d-4911-89cc-4769d0faa1c3" providerId="ADAL" clId="{A69D1CC3-CC99-4E10-BBB2-CE6DA348629D}" dt="2021-12-10T20:59:51.287" v="756"/>
          <ac:spMkLst>
            <pc:docMk/>
            <pc:sldMk cId="4036675726" sldId="2134959157"/>
            <ac:spMk id="5" creationId="{795FF5BB-C723-4583-B443-0D2CDF800F30}"/>
          </ac:spMkLst>
        </pc:spChg>
        <pc:spChg chg="add mod">
          <ac:chgData name="GSVE (Gianluca Stivale)" userId="b2f3af48-7d3d-4911-89cc-4769d0faa1c3" providerId="ADAL" clId="{A69D1CC3-CC99-4E10-BBB2-CE6DA348629D}" dt="2021-12-15T18:13:43.421" v="2331" actId="113"/>
          <ac:spMkLst>
            <pc:docMk/>
            <pc:sldMk cId="4036675726" sldId="2134959157"/>
            <ac:spMk id="7" creationId="{6F2D7F89-8BBB-43A2-90E2-E1E33D105A8D}"/>
          </ac:spMkLst>
        </pc:spChg>
        <pc:spChg chg="add del mod">
          <ac:chgData name="GSVE (Gianluca Stivale)" userId="b2f3af48-7d3d-4911-89cc-4769d0faa1c3" providerId="ADAL" clId="{A69D1CC3-CC99-4E10-BBB2-CE6DA348629D}" dt="2021-12-13T07:18:24.355" v="776" actId="478"/>
          <ac:spMkLst>
            <pc:docMk/>
            <pc:sldMk cId="4036675726" sldId="2134959157"/>
            <ac:spMk id="7" creationId="{95E9B52D-96EE-4D2B-AF14-C981618CEDF1}"/>
          </ac:spMkLst>
        </pc:spChg>
        <pc:spChg chg="add mod">
          <ac:chgData name="GSVE (Gianluca Stivale)" userId="b2f3af48-7d3d-4911-89cc-4769d0faa1c3" providerId="ADAL" clId="{A69D1CC3-CC99-4E10-BBB2-CE6DA348629D}" dt="2021-12-13T07:18:16.064" v="774" actId="20577"/>
          <ac:spMkLst>
            <pc:docMk/>
            <pc:sldMk cId="4036675726" sldId="2134959157"/>
            <ac:spMk id="8" creationId="{E7143F53-5288-4D2B-B5BC-E5170410145B}"/>
          </ac:spMkLst>
        </pc:spChg>
        <pc:spChg chg="add del mod">
          <ac:chgData name="GSVE (Gianluca Stivale)" userId="b2f3af48-7d3d-4911-89cc-4769d0faa1c3" providerId="ADAL" clId="{A69D1CC3-CC99-4E10-BBB2-CE6DA348629D}" dt="2021-12-13T07:18:25.274" v="777" actId="478"/>
          <ac:spMkLst>
            <pc:docMk/>
            <pc:sldMk cId="4036675726" sldId="2134959157"/>
            <ac:spMk id="9" creationId="{C0F19030-8E5D-4F6A-A99A-9E2E91469A18}"/>
          </ac:spMkLst>
        </pc:spChg>
        <pc:spChg chg="mod">
          <ac:chgData name="GSVE (Gianluca Stivale)" userId="b2f3af48-7d3d-4911-89cc-4769d0faa1c3" providerId="ADAL" clId="{A69D1CC3-CC99-4E10-BBB2-CE6DA348629D}" dt="2021-12-15T09:20:50.135" v="1417" actId="1076"/>
          <ac:spMkLst>
            <pc:docMk/>
            <pc:sldMk cId="4036675726" sldId="2134959157"/>
            <ac:spMk id="12" creationId="{3A1C3A50-3AF5-4A86-8B65-B82224CF146A}"/>
          </ac:spMkLst>
        </pc:spChg>
        <pc:picChg chg="mod modCrop">
          <ac:chgData name="GSVE (Gianluca Stivale)" userId="b2f3af48-7d3d-4911-89cc-4769d0faa1c3" providerId="ADAL" clId="{A69D1CC3-CC99-4E10-BBB2-CE6DA348629D}" dt="2021-12-13T07:22:09.969" v="830" actId="1037"/>
          <ac:picMkLst>
            <pc:docMk/>
            <pc:sldMk cId="4036675726" sldId="2134959157"/>
            <ac:picMk id="6" creationId="{88CE4402-C062-49F0-A4CB-FD53A0901328}"/>
          </ac:picMkLst>
        </pc:picChg>
      </pc:sldChg>
      <pc:sldChg chg="add del">
        <pc:chgData name="GSVE (Gianluca Stivale)" userId="b2f3af48-7d3d-4911-89cc-4769d0faa1c3" providerId="ADAL" clId="{A69D1CC3-CC99-4E10-BBB2-CE6DA348629D}" dt="2021-12-13T11:19:47.701" v="1055"/>
        <pc:sldMkLst>
          <pc:docMk/>
          <pc:sldMk cId="3227717306" sldId="2134959158"/>
        </pc:sldMkLst>
      </pc:sldChg>
      <pc:sldChg chg="delSp modSp add mod ord modShow">
        <pc:chgData name="GSVE (Gianluca Stivale)" userId="b2f3af48-7d3d-4911-89cc-4769d0faa1c3" providerId="ADAL" clId="{A69D1CC3-CC99-4E10-BBB2-CE6DA348629D}" dt="2021-12-20T19:59:17.085" v="17021" actId="729"/>
        <pc:sldMkLst>
          <pc:docMk/>
          <pc:sldMk cId="3804314140" sldId="2134959158"/>
        </pc:sldMkLst>
        <pc:spChg chg="mod">
          <ac:chgData name="GSVE (Gianluca Stivale)" userId="b2f3af48-7d3d-4911-89cc-4769d0faa1c3" providerId="ADAL" clId="{A69D1CC3-CC99-4E10-BBB2-CE6DA348629D}" dt="2021-12-15T14:16:43.649" v="1847" actId="1076"/>
          <ac:spMkLst>
            <pc:docMk/>
            <pc:sldMk cId="3804314140" sldId="2134959158"/>
            <ac:spMk id="6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16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18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4:16:43.649" v="1847" actId="1076"/>
          <ac:spMkLst>
            <pc:docMk/>
            <pc:sldMk cId="3804314140" sldId="2134959158"/>
            <ac:spMk id="20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22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23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24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25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4:16:43.649" v="1847" actId="1076"/>
          <ac:spMkLst>
            <pc:docMk/>
            <pc:sldMk cId="3804314140" sldId="2134959158"/>
            <ac:spMk id="26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4:16:43.649" v="1847" actId="1076"/>
          <ac:spMkLst>
            <pc:docMk/>
            <pc:sldMk cId="3804314140" sldId="2134959158"/>
            <ac:spMk id="27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29" creationId="{00000000-0000-0000-0000-000000000000}"/>
          </ac:spMkLst>
        </pc:spChg>
        <pc:spChg chg="del">
          <ac:chgData name="GSVE (Gianluca Stivale)" userId="b2f3af48-7d3d-4911-89cc-4769d0faa1c3" providerId="ADAL" clId="{A69D1CC3-CC99-4E10-BBB2-CE6DA348629D}" dt="2021-12-15T14:16:29.602" v="1844" actId="478"/>
          <ac:spMkLst>
            <pc:docMk/>
            <pc:sldMk cId="3804314140" sldId="2134959158"/>
            <ac:spMk id="30" creationId="{00000000-0000-0000-0000-000000000000}"/>
          </ac:spMkLst>
        </pc:spChg>
        <pc:spChg chg="mod">
          <ac:chgData name="GSVE (Gianluca Stivale)" userId="b2f3af48-7d3d-4911-89cc-4769d0faa1c3" providerId="ADAL" clId="{A69D1CC3-CC99-4E10-BBB2-CE6DA348629D}" dt="2021-12-15T14:16:43.649" v="1847" actId="1076"/>
          <ac:spMkLst>
            <pc:docMk/>
            <pc:sldMk cId="3804314140" sldId="2134959158"/>
            <ac:spMk id="32" creationId="{00000000-0000-0000-0000-000000000000}"/>
          </ac:spMkLst>
        </pc:spChg>
        <pc:graphicFrameChg chg="del">
          <ac:chgData name="GSVE (Gianluca Stivale)" userId="b2f3af48-7d3d-4911-89cc-4769d0faa1c3" providerId="ADAL" clId="{A69D1CC3-CC99-4E10-BBB2-CE6DA348629D}" dt="2021-12-15T14:16:29.602" v="1844" actId="478"/>
          <ac:graphicFrameMkLst>
            <pc:docMk/>
            <pc:sldMk cId="3804314140" sldId="2134959158"/>
            <ac:graphicFrameMk id="5" creationId="{00000000-0000-0000-0000-000000000000}"/>
          </ac:graphicFrameMkLst>
        </pc:graphicFrameChg>
        <pc:graphicFrameChg chg="del">
          <ac:chgData name="GSVE (Gianluca Stivale)" userId="b2f3af48-7d3d-4911-89cc-4769d0faa1c3" providerId="ADAL" clId="{A69D1CC3-CC99-4E10-BBB2-CE6DA348629D}" dt="2021-12-15T14:16:29.602" v="1844" actId="478"/>
          <ac:graphicFrameMkLst>
            <pc:docMk/>
            <pc:sldMk cId="3804314140" sldId="2134959158"/>
            <ac:graphicFrameMk id="17" creationId="{00000000-0000-0000-0000-000000000000}"/>
          </ac:graphicFrameMkLst>
        </pc:graphicFrameChg>
        <pc:graphicFrameChg chg="mod">
          <ac:chgData name="GSVE (Gianluca Stivale)" userId="b2f3af48-7d3d-4911-89cc-4769d0faa1c3" providerId="ADAL" clId="{A69D1CC3-CC99-4E10-BBB2-CE6DA348629D}" dt="2021-12-15T14:16:43.649" v="1847" actId="1076"/>
          <ac:graphicFrameMkLst>
            <pc:docMk/>
            <pc:sldMk cId="3804314140" sldId="2134959158"/>
            <ac:graphicFrameMk id="19" creationId="{00000000-0000-0000-0000-000000000000}"/>
          </ac:graphicFrameMkLst>
        </pc:graphicFrameChg>
      </pc:sldChg>
      <pc:sldChg chg="addSp delSp modSp add mod ord modNotesTx">
        <pc:chgData name="GSVE (Gianluca Stivale)" userId="b2f3af48-7d3d-4911-89cc-4769d0faa1c3" providerId="ADAL" clId="{A69D1CC3-CC99-4E10-BBB2-CE6DA348629D}" dt="2021-12-20T16:59:11.048" v="16998" actId="20577"/>
        <pc:sldMkLst>
          <pc:docMk/>
          <pc:sldMk cId="789083521" sldId="2134959159"/>
        </pc:sldMkLst>
        <pc:spChg chg="add del">
          <ac:chgData name="GSVE (Gianluca Stivale)" userId="b2f3af48-7d3d-4911-89cc-4769d0faa1c3" providerId="ADAL" clId="{A69D1CC3-CC99-4E10-BBB2-CE6DA348629D}" dt="2021-12-15T15:15:48.007" v="1936" actId="478"/>
          <ac:spMkLst>
            <pc:docMk/>
            <pc:sldMk cId="789083521" sldId="2134959159"/>
            <ac:spMk id="7" creationId="{42166735-654D-43BA-AD81-A0EF019CE00C}"/>
          </ac:spMkLst>
        </pc:spChg>
        <pc:spChg chg="add mod">
          <ac:chgData name="GSVE (Gianluca Stivale)" userId="b2f3af48-7d3d-4911-89cc-4769d0faa1c3" providerId="ADAL" clId="{A69D1CC3-CC99-4E10-BBB2-CE6DA348629D}" dt="2021-12-15T15:15:45.123" v="1935" actId="20577"/>
          <ac:spMkLst>
            <pc:docMk/>
            <pc:sldMk cId="789083521" sldId="2134959159"/>
            <ac:spMk id="9" creationId="{7653D8C0-C6C7-4D2F-AC05-7020B7471095}"/>
          </ac:spMkLst>
        </pc:spChg>
        <pc:spChg chg="add mod">
          <ac:chgData name="GSVE (Gianluca Stivale)" userId="b2f3af48-7d3d-4911-89cc-4769d0faa1c3" providerId="ADAL" clId="{A69D1CC3-CC99-4E10-BBB2-CE6DA348629D}" dt="2021-12-16T10:51:21.860" v="2891" actId="20577"/>
          <ac:spMkLst>
            <pc:docMk/>
            <pc:sldMk cId="789083521" sldId="2134959159"/>
            <ac:spMk id="10" creationId="{13628171-19A7-4058-858E-D4C55001D35A}"/>
          </ac:spMkLst>
        </pc:spChg>
        <pc:spChg chg="add mod">
          <ac:chgData name="GSVE (Gianluca Stivale)" userId="b2f3af48-7d3d-4911-89cc-4769d0faa1c3" providerId="ADAL" clId="{A69D1CC3-CC99-4E10-BBB2-CE6DA348629D}" dt="2021-12-16T10:49:45.003" v="2874"/>
          <ac:spMkLst>
            <pc:docMk/>
            <pc:sldMk cId="789083521" sldId="2134959159"/>
            <ac:spMk id="11" creationId="{AE5CAE86-B604-4F31-923E-8CC7BC7BEA6D}"/>
          </ac:spMkLst>
        </pc:spChg>
        <pc:picChg chg="add mod">
          <ac:chgData name="GSVE (Gianluca Stivale)" userId="b2f3af48-7d3d-4911-89cc-4769d0faa1c3" providerId="ADAL" clId="{A69D1CC3-CC99-4E10-BBB2-CE6DA348629D}" dt="2021-12-16T10:48:35.322" v="2849" actId="1076"/>
          <ac:picMkLst>
            <pc:docMk/>
            <pc:sldMk cId="789083521" sldId="2134959159"/>
            <ac:picMk id="2" creationId="{0D479EC7-15DF-4C2F-B52F-8D76DAB9C31C}"/>
          </ac:picMkLst>
        </pc:picChg>
        <pc:picChg chg="del">
          <ac:chgData name="GSVE (Gianluca Stivale)" userId="b2f3af48-7d3d-4911-89cc-4769d0faa1c3" providerId="ADAL" clId="{A69D1CC3-CC99-4E10-BBB2-CE6DA348629D}" dt="2021-12-15T14:47:13.503" v="1864" actId="478"/>
          <ac:picMkLst>
            <pc:docMk/>
            <pc:sldMk cId="789083521" sldId="2134959159"/>
            <ac:picMk id="6" creationId="{981A9F42-FAF6-4E60-80B4-832835CBAA1C}"/>
          </ac:picMkLst>
        </pc:picChg>
        <pc:picChg chg="del">
          <ac:chgData name="GSVE (Gianluca Stivale)" userId="b2f3af48-7d3d-4911-89cc-4769d0faa1c3" providerId="ADAL" clId="{A69D1CC3-CC99-4E10-BBB2-CE6DA348629D}" dt="2021-12-15T14:47:11.562" v="1863" actId="478"/>
          <ac:picMkLst>
            <pc:docMk/>
            <pc:sldMk cId="789083521" sldId="2134959159"/>
            <ac:picMk id="8" creationId="{AD9FDD08-EEE4-4BAA-87B6-FC6C29F67C85}"/>
          </ac:picMkLst>
        </pc:picChg>
        <pc:picChg chg="add del mod">
          <ac:chgData name="GSVE (Gianluca Stivale)" userId="b2f3af48-7d3d-4911-89cc-4769d0faa1c3" providerId="ADAL" clId="{A69D1CC3-CC99-4E10-BBB2-CE6DA348629D}" dt="2021-12-15T14:47:21.830" v="1868" actId="478"/>
          <ac:picMkLst>
            <pc:docMk/>
            <pc:sldMk cId="789083521" sldId="2134959159"/>
            <ac:picMk id="1026" creationId="{EAFB8E67-5546-455E-B118-0D0E837584DF}"/>
          </ac:picMkLst>
        </pc:picChg>
      </pc:sldChg>
      <pc:sldChg chg="addSp delSp modSp add del mod modNotesTx">
        <pc:chgData name="GSVE (Gianluca Stivale)" userId="b2f3af48-7d3d-4911-89cc-4769d0faa1c3" providerId="ADAL" clId="{A69D1CC3-CC99-4E10-BBB2-CE6DA348629D}" dt="2021-12-16T11:11:23.954" v="2970" actId="47"/>
        <pc:sldMkLst>
          <pc:docMk/>
          <pc:sldMk cId="995265800" sldId="2134959160"/>
        </pc:sldMkLst>
        <pc:spChg chg="mod">
          <ac:chgData name="GSVE (Gianluca Stivale)" userId="b2f3af48-7d3d-4911-89cc-4769d0faa1c3" providerId="ADAL" clId="{A69D1CC3-CC99-4E10-BBB2-CE6DA348629D}" dt="2021-12-16T07:35:10.193" v="2779" actId="13926"/>
          <ac:spMkLst>
            <pc:docMk/>
            <pc:sldMk cId="995265800" sldId="2134959160"/>
            <ac:spMk id="9" creationId="{7653D8C0-C6C7-4D2F-AC05-7020B7471095}"/>
          </ac:spMkLst>
        </pc:spChg>
        <pc:picChg chg="del mod">
          <ac:chgData name="GSVE (Gianluca Stivale)" userId="b2f3af48-7d3d-4911-89cc-4769d0faa1c3" providerId="ADAL" clId="{A69D1CC3-CC99-4E10-BBB2-CE6DA348629D}" dt="2021-12-15T15:58:37.880" v="1943" actId="478"/>
          <ac:picMkLst>
            <pc:docMk/>
            <pc:sldMk cId="995265800" sldId="2134959160"/>
            <ac:picMk id="2" creationId="{0D479EC7-15DF-4C2F-B52F-8D76DAB9C31C}"/>
          </ac:picMkLst>
        </pc:picChg>
        <pc:picChg chg="add mod">
          <ac:chgData name="GSVE (Gianluca Stivale)" userId="b2f3af48-7d3d-4911-89cc-4769d0faa1c3" providerId="ADAL" clId="{A69D1CC3-CC99-4E10-BBB2-CE6DA348629D}" dt="2021-12-15T15:58:43.464" v="1946" actId="1076"/>
          <ac:picMkLst>
            <pc:docMk/>
            <pc:sldMk cId="995265800" sldId="2134959160"/>
            <ac:picMk id="4" creationId="{46C92811-2472-4FE7-BF18-2375763BCF97}"/>
          </ac:picMkLst>
        </pc:picChg>
      </pc:sldChg>
      <pc:sldChg chg="addSp delSp modSp add mod modAnim modNotesTx">
        <pc:chgData name="GSVE (Gianluca Stivale)" userId="b2f3af48-7d3d-4911-89cc-4769d0faa1c3" providerId="ADAL" clId="{A69D1CC3-CC99-4E10-BBB2-CE6DA348629D}" dt="2021-12-21T09:56:41.998" v="17047"/>
        <pc:sldMkLst>
          <pc:docMk/>
          <pc:sldMk cId="1703754542" sldId="2134959161"/>
        </pc:sldMkLst>
        <pc:spChg chg="mod">
          <ac:chgData name="GSVE (Gianluca Stivale)" userId="b2f3af48-7d3d-4911-89cc-4769d0faa1c3" providerId="ADAL" clId="{A69D1CC3-CC99-4E10-BBB2-CE6DA348629D}" dt="2021-12-15T17:24:37.188" v="2275" actId="20577"/>
          <ac:spMkLst>
            <pc:docMk/>
            <pc:sldMk cId="1703754542" sldId="2134959161"/>
            <ac:spMk id="11" creationId="{09365F2F-DAAF-409F-A616-D22FA219F24A}"/>
          </ac:spMkLst>
        </pc:spChg>
        <pc:spChg chg="add mod">
          <ac:chgData name="GSVE (Gianluca Stivale)" userId="b2f3af48-7d3d-4911-89cc-4769d0faa1c3" providerId="ADAL" clId="{A69D1CC3-CC99-4E10-BBB2-CE6DA348629D}" dt="2021-12-21T09:56:34.645" v="17045" actId="208"/>
          <ac:spMkLst>
            <pc:docMk/>
            <pc:sldMk cId="1703754542" sldId="2134959161"/>
            <ac:spMk id="12" creationId="{E4488E28-67DA-4F00-AB33-F92B14FD9690}"/>
          </ac:spMkLst>
        </pc:spChg>
        <pc:spChg chg="add del mod">
          <ac:chgData name="GSVE (Gianluca Stivale)" userId="b2f3af48-7d3d-4911-89cc-4769d0faa1c3" providerId="ADAL" clId="{A69D1CC3-CC99-4E10-BBB2-CE6DA348629D}" dt="2021-12-15T17:27:09.820" v="2285" actId="1076"/>
          <ac:spMkLst>
            <pc:docMk/>
            <pc:sldMk cId="1703754542" sldId="2134959161"/>
            <ac:spMk id="13" creationId="{9F564F62-F770-4CA3-9C6F-C6F1F717A5CD}"/>
          </ac:spMkLst>
        </pc:spChg>
        <pc:spChg chg="mod topLvl">
          <ac:chgData name="GSVE (Gianluca Stivale)" userId="b2f3af48-7d3d-4911-89cc-4769d0faa1c3" providerId="ADAL" clId="{A69D1CC3-CC99-4E10-BBB2-CE6DA348629D}" dt="2021-12-15T20:20:01.338" v="2500" actId="165"/>
          <ac:spMkLst>
            <pc:docMk/>
            <pc:sldMk cId="1703754542" sldId="2134959161"/>
            <ac:spMk id="17" creationId="{E1C3B645-67D2-4693-8E03-DEAEA5B03F8C}"/>
          </ac:spMkLst>
        </pc:spChg>
        <pc:spChg chg="mod topLvl">
          <ac:chgData name="GSVE (Gianluca Stivale)" userId="b2f3af48-7d3d-4911-89cc-4769d0faa1c3" providerId="ADAL" clId="{A69D1CC3-CC99-4E10-BBB2-CE6DA348629D}" dt="2021-12-15T20:20:01.338" v="2500" actId="165"/>
          <ac:spMkLst>
            <pc:docMk/>
            <pc:sldMk cId="1703754542" sldId="2134959161"/>
            <ac:spMk id="18" creationId="{5CEBD96D-0807-43FC-B952-58323AD014D9}"/>
          </ac:spMkLst>
        </pc:spChg>
        <pc:grpChg chg="add del mod">
          <ac:chgData name="GSVE (Gianluca Stivale)" userId="b2f3af48-7d3d-4911-89cc-4769d0faa1c3" providerId="ADAL" clId="{A69D1CC3-CC99-4E10-BBB2-CE6DA348629D}" dt="2021-12-15T20:20:01.338" v="2500" actId="165"/>
          <ac:grpSpMkLst>
            <pc:docMk/>
            <pc:sldMk cId="1703754542" sldId="2134959161"/>
            <ac:grpSpMk id="15" creationId="{D988B451-9C9C-4F6C-AA51-578448A7974A}"/>
          </ac:grpSpMkLst>
        </pc:grpChg>
        <pc:picChg chg="add mod ord modCrop">
          <ac:chgData name="GSVE (Gianluca Stivale)" userId="b2f3af48-7d3d-4911-89cc-4769d0faa1c3" providerId="ADAL" clId="{A69D1CC3-CC99-4E10-BBB2-CE6DA348629D}" dt="2021-12-15T17:20:55.591" v="2219" actId="1076"/>
          <ac:picMkLst>
            <pc:docMk/>
            <pc:sldMk cId="1703754542" sldId="2134959161"/>
            <ac:picMk id="3" creationId="{9A4613B8-3903-45A6-88FA-47799C21A01E}"/>
          </ac:picMkLst>
        </pc:picChg>
        <pc:picChg chg="del mod">
          <ac:chgData name="GSVE (Gianluca Stivale)" userId="b2f3af48-7d3d-4911-89cc-4769d0faa1c3" providerId="ADAL" clId="{A69D1CC3-CC99-4E10-BBB2-CE6DA348629D}" dt="2021-12-15T17:01:05.099" v="2148" actId="478"/>
          <ac:picMkLst>
            <pc:docMk/>
            <pc:sldMk cId="1703754542" sldId="2134959161"/>
            <ac:picMk id="8" creationId="{3A043540-09D3-4294-86E5-02F5746C34AC}"/>
          </ac:picMkLst>
        </pc:picChg>
        <pc:picChg chg="del">
          <ac:chgData name="GSVE (Gianluca Stivale)" userId="b2f3af48-7d3d-4911-89cc-4769d0faa1c3" providerId="ADAL" clId="{A69D1CC3-CC99-4E10-BBB2-CE6DA348629D}" dt="2021-12-15T16:59:14.022" v="2113" actId="478"/>
          <ac:picMkLst>
            <pc:docMk/>
            <pc:sldMk cId="1703754542" sldId="2134959161"/>
            <ac:picMk id="10" creationId="{961BCC4B-98A5-4AF0-927F-53150572F3E7}"/>
          </ac:picMkLst>
        </pc:picChg>
        <pc:picChg chg="del">
          <ac:chgData name="GSVE (Gianluca Stivale)" userId="b2f3af48-7d3d-4911-89cc-4769d0faa1c3" providerId="ADAL" clId="{A69D1CC3-CC99-4E10-BBB2-CE6DA348629D}" dt="2021-12-15T16:59:17.148" v="2116" actId="478"/>
          <ac:picMkLst>
            <pc:docMk/>
            <pc:sldMk cId="1703754542" sldId="2134959161"/>
            <ac:picMk id="12" creationId="{762BF530-EAE9-4E20-9870-0642C974A398}"/>
          </ac:picMkLst>
        </pc:picChg>
        <pc:picChg chg="add mod ord modCrop">
          <ac:chgData name="GSVE (Gianluca Stivale)" userId="b2f3af48-7d3d-4911-89cc-4769d0faa1c3" providerId="ADAL" clId="{A69D1CC3-CC99-4E10-BBB2-CE6DA348629D}" dt="2021-12-15T18:03:16.418" v="2314" actId="1036"/>
          <ac:picMkLst>
            <pc:docMk/>
            <pc:sldMk cId="1703754542" sldId="2134959161"/>
            <ac:picMk id="14" creationId="{D16E90DD-B907-40E8-8BE2-E6F8CD1CAFF9}"/>
          </ac:picMkLst>
        </pc:picChg>
        <pc:picChg chg="mod topLvl">
          <ac:chgData name="GSVE (Gianluca Stivale)" userId="b2f3af48-7d3d-4911-89cc-4769d0faa1c3" providerId="ADAL" clId="{A69D1CC3-CC99-4E10-BBB2-CE6DA348629D}" dt="2021-12-15T20:20:01.338" v="2500" actId="165"/>
          <ac:picMkLst>
            <pc:docMk/>
            <pc:sldMk cId="1703754542" sldId="2134959161"/>
            <ac:picMk id="16" creationId="{75BA5116-B303-411C-A417-D6816AA68949}"/>
          </ac:picMkLst>
        </pc:picChg>
      </pc:sldChg>
      <pc:sldChg chg="addSp delSp modSp add mod ord modShow">
        <pc:chgData name="GSVE (Gianluca Stivale)" userId="b2f3af48-7d3d-4911-89cc-4769d0faa1c3" providerId="ADAL" clId="{A69D1CC3-CC99-4E10-BBB2-CE6DA348629D}" dt="2021-12-16T15:57:33.012" v="3990" actId="729"/>
        <pc:sldMkLst>
          <pc:docMk/>
          <pc:sldMk cId="2785932111" sldId="2134959162"/>
        </pc:sldMkLst>
        <pc:spChg chg="add del">
          <ac:chgData name="GSVE (Gianluca Stivale)" userId="b2f3af48-7d3d-4911-89cc-4769d0faa1c3" providerId="ADAL" clId="{A69D1CC3-CC99-4E10-BBB2-CE6DA348629D}" dt="2021-12-16T15:01:21.948" v="3931" actId="478"/>
          <ac:spMkLst>
            <pc:docMk/>
            <pc:sldMk cId="2785932111" sldId="2134959162"/>
            <ac:spMk id="7" creationId="{7B786AB0-0069-4308-BBC3-B0424D5CCE9E}"/>
          </ac:spMkLst>
        </pc:spChg>
        <pc:spChg chg="add mod">
          <ac:chgData name="GSVE (Gianluca Stivale)" userId="b2f3af48-7d3d-4911-89cc-4769d0faa1c3" providerId="ADAL" clId="{A69D1CC3-CC99-4E10-BBB2-CE6DA348629D}" dt="2021-12-16T14:57:26.708" v="3916" actId="20577"/>
          <ac:spMkLst>
            <pc:docMk/>
            <pc:sldMk cId="2785932111" sldId="2134959162"/>
            <ac:spMk id="8" creationId="{BEEC9F81-715E-4C2D-8F42-ED0F419C69A6}"/>
          </ac:spMkLst>
        </pc:spChg>
        <pc:spChg chg="mod">
          <ac:chgData name="GSVE (Gianluca Stivale)" userId="b2f3af48-7d3d-4911-89cc-4769d0faa1c3" providerId="ADAL" clId="{A69D1CC3-CC99-4E10-BBB2-CE6DA348629D}" dt="2021-12-16T12:42:33.771" v="3192" actId="13926"/>
          <ac:spMkLst>
            <pc:docMk/>
            <pc:sldMk cId="2785932111" sldId="2134959162"/>
            <ac:spMk id="9" creationId="{7653D8C0-C6C7-4D2F-AC05-7020B7471095}"/>
          </ac:spMkLst>
        </pc:spChg>
        <pc:spChg chg="add mod">
          <ac:chgData name="GSVE (Gianluca Stivale)" userId="b2f3af48-7d3d-4911-89cc-4769d0faa1c3" providerId="ADAL" clId="{A69D1CC3-CC99-4E10-BBB2-CE6DA348629D}" dt="2021-12-16T14:57:31.259" v="3917"/>
          <ac:spMkLst>
            <pc:docMk/>
            <pc:sldMk cId="2785932111" sldId="2134959162"/>
            <ac:spMk id="10" creationId="{4094D02F-2C71-4020-AFBF-73DF0768BF61}"/>
          </ac:spMkLst>
        </pc:spChg>
        <pc:picChg chg="add mod">
          <ac:chgData name="GSVE (Gianluca Stivale)" userId="b2f3af48-7d3d-4911-89cc-4769d0faa1c3" providerId="ADAL" clId="{A69D1CC3-CC99-4E10-BBB2-CE6DA348629D}" dt="2021-12-16T15:01:18.879" v="3930" actId="1036"/>
          <ac:picMkLst>
            <pc:docMk/>
            <pc:sldMk cId="2785932111" sldId="2134959162"/>
            <ac:picMk id="3" creationId="{15FE9DFC-01FE-4166-AFED-97B89A0C0BC8}"/>
          </ac:picMkLst>
        </pc:picChg>
        <pc:picChg chg="del">
          <ac:chgData name="GSVE (Gianluca Stivale)" userId="b2f3af48-7d3d-4911-89cc-4769d0faa1c3" providerId="ADAL" clId="{A69D1CC3-CC99-4E10-BBB2-CE6DA348629D}" dt="2021-12-15T21:21:09.741" v="2767" actId="478"/>
          <ac:picMkLst>
            <pc:docMk/>
            <pc:sldMk cId="2785932111" sldId="2134959162"/>
            <ac:picMk id="4" creationId="{46C92811-2472-4FE7-BF18-2375763BCF97}"/>
          </ac:picMkLst>
        </pc:picChg>
      </pc:sldChg>
      <pc:sldChg chg="addSp delSp modSp add mod ord modShow modNotesTx">
        <pc:chgData name="GSVE (Gianluca Stivale)" userId="b2f3af48-7d3d-4911-89cc-4769d0faa1c3" providerId="ADAL" clId="{A69D1CC3-CC99-4E10-BBB2-CE6DA348629D}" dt="2021-12-16T14:38:11.296" v="3683" actId="729"/>
        <pc:sldMkLst>
          <pc:docMk/>
          <pc:sldMk cId="932826858" sldId="2134959163"/>
        </pc:sldMkLst>
        <pc:spChg chg="add del mod">
          <ac:chgData name="GSVE (Gianluca Stivale)" userId="b2f3af48-7d3d-4911-89cc-4769d0faa1c3" providerId="ADAL" clId="{A69D1CC3-CC99-4E10-BBB2-CE6DA348629D}" dt="2021-12-16T10:37:42.979" v="2812"/>
          <ac:spMkLst>
            <pc:docMk/>
            <pc:sldMk cId="932826858" sldId="2134959163"/>
            <ac:spMk id="5" creationId="{A717A6E4-6E49-4AEA-A2B3-BAAC2D036D80}"/>
          </ac:spMkLst>
        </pc:spChg>
        <pc:spChg chg="add mod">
          <ac:chgData name="GSVE (Gianluca Stivale)" userId="b2f3af48-7d3d-4911-89cc-4769d0faa1c3" providerId="ADAL" clId="{A69D1CC3-CC99-4E10-BBB2-CE6DA348629D}" dt="2021-12-16T10:38:27.888" v="2825" actId="6549"/>
          <ac:spMkLst>
            <pc:docMk/>
            <pc:sldMk cId="932826858" sldId="2134959163"/>
            <ac:spMk id="6" creationId="{8C409BEC-FDC3-4EBF-82FE-AB03C78D66BA}"/>
          </ac:spMkLst>
        </pc:spChg>
        <pc:spChg chg="mod">
          <ac:chgData name="GSVE (Gianluca Stivale)" userId="b2f3af48-7d3d-4911-89cc-4769d0faa1c3" providerId="ADAL" clId="{A69D1CC3-CC99-4E10-BBB2-CE6DA348629D}" dt="2021-12-16T10:39:21.759" v="2833" actId="20577"/>
          <ac:spMkLst>
            <pc:docMk/>
            <pc:sldMk cId="932826858" sldId="2134959163"/>
            <ac:spMk id="9" creationId="{7653D8C0-C6C7-4D2F-AC05-7020B7471095}"/>
          </ac:spMkLst>
        </pc:spChg>
        <pc:spChg chg="add mod">
          <ac:chgData name="GSVE (Gianluca Stivale)" userId="b2f3af48-7d3d-4911-89cc-4769d0faa1c3" providerId="ADAL" clId="{A69D1CC3-CC99-4E10-BBB2-CE6DA348629D}" dt="2021-12-16T10:51:29.142" v="2892" actId="20577"/>
          <ac:spMkLst>
            <pc:docMk/>
            <pc:sldMk cId="932826858" sldId="2134959163"/>
            <ac:spMk id="10" creationId="{BB4EEA79-D7BB-4620-81FC-53A6723BD013}"/>
          </ac:spMkLst>
        </pc:spChg>
        <pc:spChg chg="add mod">
          <ac:chgData name="GSVE (Gianluca Stivale)" userId="b2f3af48-7d3d-4911-89cc-4769d0faa1c3" providerId="ADAL" clId="{A69D1CC3-CC99-4E10-BBB2-CE6DA348629D}" dt="2021-12-16T10:49:47.659" v="2875"/>
          <ac:spMkLst>
            <pc:docMk/>
            <pc:sldMk cId="932826858" sldId="2134959163"/>
            <ac:spMk id="11" creationId="{344C84AD-81FF-4171-9D5E-8CBB707EF52A}"/>
          </ac:spMkLst>
        </pc:spChg>
        <pc:picChg chg="del">
          <ac:chgData name="GSVE (Gianluca Stivale)" userId="b2f3af48-7d3d-4911-89cc-4769d0faa1c3" providerId="ADAL" clId="{A69D1CC3-CC99-4E10-BBB2-CE6DA348629D}" dt="2021-12-16T10:37:07.994" v="2809" actId="478"/>
          <ac:picMkLst>
            <pc:docMk/>
            <pc:sldMk cId="932826858" sldId="2134959163"/>
            <ac:picMk id="2" creationId="{0D479EC7-15DF-4C2F-B52F-8D76DAB9C31C}"/>
          </ac:picMkLst>
        </pc:picChg>
        <pc:picChg chg="add del mod">
          <ac:chgData name="GSVE (Gianluca Stivale)" userId="b2f3af48-7d3d-4911-89cc-4769d0faa1c3" providerId="ADAL" clId="{A69D1CC3-CC99-4E10-BBB2-CE6DA348629D}" dt="2021-12-16T10:44:20.066" v="2839" actId="478"/>
          <ac:picMkLst>
            <pc:docMk/>
            <pc:sldMk cId="932826858" sldId="2134959163"/>
            <ac:picMk id="4" creationId="{FE285CAD-CC95-40D7-AA2B-536F1C5EA015}"/>
          </ac:picMkLst>
        </pc:picChg>
        <pc:picChg chg="add mod modCrop">
          <ac:chgData name="GSVE (Gianluca Stivale)" userId="b2f3af48-7d3d-4911-89cc-4769d0faa1c3" providerId="ADAL" clId="{A69D1CC3-CC99-4E10-BBB2-CE6DA348629D}" dt="2021-12-16T10:44:17.826" v="2838" actId="1076"/>
          <ac:picMkLst>
            <pc:docMk/>
            <pc:sldMk cId="932826858" sldId="2134959163"/>
            <ac:picMk id="7" creationId="{C514A2EF-1A1C-45D3-BE20-7D923A68280B}"/>
          </ac:picMkLst>
        </pc:picChg>
      </pc:sldChg>
      <pc:sldChg chg="addSp delSp modSp add mod ord modAnim modNotesTx">
        <pc:chgData name="GSVE (Gianluca Stivale)" userId="b2f3af48-7d3d-4911-89cc-4769d0faa1c3" providerId="ADAL" clId="{A69D1CC3-CC99-4E10-BBB2-CE6DA348629D}" dt="2021-12-21T10:53:04.765" v="17089"/>
        <pc:sldMkLst>
          <pc:docMk/>
          <pc:sldMk cId="3891720261" sldId="2134959164"/>
        </pc:sldMkLst>
        <pc:spChg chg="add mod">
          <ac:chgData name="GSVE (Gianluca Stivale)" userId="b2f3af48-7d3d-4911-89cc-4769d0faa1c3" providerId="ADAL" clId="{A69D1CC3-CC99-4E10-BBB2-CE6DA348629D}" dt="2021-12-21T10:52:57.756" v="17087" actId="1582"/>
          <ac:spMkLst>
            <pc:docMk/>
            <pc:sldMk cId="3891720261" sldId="2134959164"/>
            <ac:spMk id="2" creationId="{B2CF8324-159B-41FB-B4AB-129DE69599F6}"/>
          </ac:spMkLst>
        </pc:spChg>
        <pc:spChg chg="add mod">
          <ac:chgData name="GSVE (Gianluca Stivale)" userId="b2f3af48-7d3d-4911-89cc-4769d0faa1c3" providerId="ADAL" clId="{A69D1CC3-CC99-4E10-BBB2-CE6DA348629D}" dt="2021-12-16T12:34:07.304" v="3148" actId="1076"/>
          <ac:spMkLst>
            <pc:docMk/>
            <pc:sldMk cId="3891720261" sldId="2134959164"/>
            <ac:spMk id="6" creationId="{9D786E2D-2C9B-4F73-9205-1B9CBB659BD8}"/>
          </ac:spMkLst>
        </pc:spChg>
        <pc:spChg chg="add mod">
          <ac:chgData name="GSVE (Gianluca Stivale)" userId="b2f3af48-7d3d-4911-89cc-4769d0faa1c3" providerId="ADAL" clId="{A69D1CC3-CC99-4E10-BBB2-CE6DA348629D}" dt="2021-12-16T12:34:13.645" v="3149"/>
          <ac:spMkLst>
            <pc:docMk/>
            <pc:sldMk cId="3891720261" sldId="2134959164"/>
            <ac:spMk id="7" creationId="{26568C4F-F8EB-4A2A-AAA6-44B2A67DD0D5}"/>
          </ac:spMkLst>
        </pc:spChg>
        <pc:spChg chg="add del mod">
          <ac:chgData name="GSVE (Gianluca Stivale)" userId="b2f3af48-7d3d-4911-89cc-4769d0faa1c3" providerId="ADAL" clId="{A69D1CC3-CC99-4E10-BBB2-CE6DA348629D}" dt="2021-12-16T12:40:29.613" v="3180" actId="478"/>
          <ac:spMkLst>
            <pc:docMk/>
            <pc:sldMk cId="3891720261" sldId="2134959164"/>
            <ac:spMk id="8" creationId="{98AE6E12-5C0F-4F9F-AD95-8D1A69389794}"/>
          </ac:spMkLst>
        </pc:spChg>
        <pc:spChg chg="mod">
          <ac:chgData name="GSVE (Gianluca Stivale)" userId="b2f3af48-7d3d-4911-89cc-4769d0faa1c3" providerId="ADAL" clId="{A69D1CC3-CC99-4E10-BBB2-CE6DA348629D}" dt="2021-12-20T15:42:49.380" v="16578" actId="20577"/>
          <ac:spMkLst>
            <pc:docMk/>
            <pc:sldMk cId="3891720261" sldId="2134959164"/>
            <ac:spMk id="9" creationId="{7653D8C0-C6C7-4D2F-AC05-7020B7471095}"/>
          </ac:spMkLst>
        </pc:spChg>
        <pc:spChg chg="add del mod">
          <ac:chgData name="GSVE (Gianluca Stivale)" userId="b2f3af48-7d3d-4911-89cc-4769d0faa1c3" providerId="ADAL" clId="{A69D1CC3-CC99-4E10-BBB2-CE6DA348629D}" dt="2021-12-16T12:40:27.992" v="3179" actId="478"/>
          <ac:spMkLst>
            <pc:docMk/>
            <pc:sldMk cId="3891720261" sldId="2134959164"/>
            <ac:spMk id="10" creationId="{3DA31D1D-2CEB-45ED-AEE2-C45AA6FC705C}"/>
          </ac:spMkLst>
        </pc:spChg>
        <pc:spChg chg="add mod">
          <ac:chgData name="GSVE (Gianluca Stivale)" userId="b2f3af48-7d3d-4911-89cc-4769d0faa1c3" providerId="ADAL" clId="{A69D1CC3-CC99-4E10-BBB2-CE6DA348629D}" dt="2021-12-20T15:44:57.869" v="16595" actId="1035"/>
          <ac:spMkLst>
            <pc:docMk/>
            <pc:sldMk cId="3891720261" sldId="2134959164"/>
            <ac:spMk id="10" creationId="{87C91113-D0C0-4A74-9119-6D40CD014E8B}"/>
          </ac:spMkLst>
        </pc:spChg>
        <pc:picChg chg="del">
          <ac:chgData name="GSVE (Gianluca Stivale)" userId="b2f3af48-7d3d-4911-89cc-4769d0faa1c3" providerId="ADAL" clId="{A69D1CC3-CC99-4E10-BBB2-CE6DA348629D}" dt="2021-12-16T11:46:34.953" v="2972" actId="478"/>
          <ac:picMkLst>
            <pc:docMk/>
            <pc:sldMk cId="3891720261" sldId="2134959164"/>
            <ac:picMk id="3" creationId="{15FE9DFC-01FE-4166-AFED-97B89A0C0BC8}"/>
          </ac:picMkLst>
        </pc:picChg>
        <pc:picChg chg="add mod modCrop">
          <ac:chgData name="GSVE (Gianluca Stivale)" userId="b2f3af48-7d3d-4911-89cc-4769d0faa1c3" providerId="ADAL" clId="{A69D1CC3-CC99-4E10-BBB2-CE6DA348629D}" dt="2021-12-20T15:39:45.633" v="16483" actId="1037"/>
          <ac:picMkLst>
            <pc:docMk/>
            <pc:sldMk cId="3891720261" sldId="2134959164"/>
            <ac:picMk id="4" creationId="{42AAC4C9-B2EE-4AB2-A97D-83FFB8566F2A}"/>
          </ac:picMkLst>
        </pc:picChg>
        <pc:picChg chg="add mod modCrop">
          <ac:chgData name="GSVE (Gianluca Stivale)" userId="b2f3af48-7d3d-4911-89cc-4769d0faa1c3" providerId="ADAL" clId="{A69D1CC3-CC99-4E10-BBB2-CE6DA348629D}" dt="2021-12-20T15:39:45.633" v="16483" actId="1037"/>
          <ac:picMkLst>
            <pc:docMk/>
            <pc:sldMk cId="3891720261" sldId="2134959164"/>
            <ac:picMk id="8" creationId="{7600AC21-02AB-44E0-BB3E-FFA704ED8DE6}"/>
          </ac:picMkLst>
        </pc:picChg>
      </pc:sldChg>
      <pc:sldChg chg="addSp delSp modSp add mod ord modAnim modShow modNotesTx">
        <pc:chgData name="GSVE (Gianluca Stivale)" userId="b2f3af48-7d3d-4911-89cc-4769d0faa1c3" providerId="ADAL" clId="{A69D1CC3-CC99-4E10-BBB2-CE6DA348629D}" dt="2021-12-21T10:04:52.675" v="17048" actId="729"/>
        <pc:sldMkLst>
          <pc:docMk/>
          <pc:sldMk cId="111925570" sldId="2134959165"/>
        </pc:sldMkLst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7" creationId="{72326F79-A372-4961-A3AB-DD9CFFDF0BE4}"/>
          </ac:spMkLst>
        </pc:spChg>
        <pc:spChg chg="add del mod">
          <ac:chgData name="GSVE (Gianluca Stivale)" userId="b2f3af48-7d3d-4911-89cc-4769d0faa1c3" providerId="ADAL" clId="{A69D1CC3-CC99-4E10-BBB2-CE6DA348629D}" dt="2021-12-16T19:03:23.786" v="4178" actId="478"/>
          <ac:spMkLst>
            <pc:docMk/>
            <pc:sldMk cId="111925570" sldId="2134959165"/>
            <ac:spMk id="8" creationId="{E1045F08-569E-483C-8E52-E5431C71738A}"/>
          </ac:spMkLst>
        </pc:spChg>
        <pc:spChg chg="mod">
          <ac:chgData name="GSVE (Gianluca Stivale)" userId="b2f3af48-7d3d-4911-89cc-4769d0faa1c3" providerId="ADAL" clId="{A69D1CC3-CC99-4E10-BBB2-CE6DA348629D}" dt="2021-12-16T18:50:04.974" v="4032" actId="13926"/>
          <ac:spMkLst>
            <pc:docMk/>
            <pc:sldMk cId="111925570" sldId="2134959165"/>
            <ac:spMk id="9" creationId="{7653D8C0-C6C7-4D2F-AC05-7020B7471095}"/>
          </ac:spMkLst>
        </pc:spChg>
        <pc:spChg chg="del mod">
          <ac:chgData name="GSVE (Gianluca Stivale)" userId="b2f3af48-7d3d-4911-89cc-4769d0faa1c3" providerId="ADAL" clId="{A69D1CC3-CC99-4E10-BBB2-CE6DA348629D}" dt="2021-12-16T19:25:29.190" v="4368" actId="478"/>
          <ac:spMkLst>
            <pc:docMk/>
            <pc:sldMk cId="111925570" sldId="2134959165"/>
            <ac:spMk id="10" creationId="{13628171-19A7-4058-858E-D4C55001D35A}"/>
          </ac:spMkLst>
        </pc:spChg>
        <pc:spChg chg="add del mod">
          <ac:chgData name="GSVE (Gianluca Stivale)" userId="b2f3af48-7d3d-4911-89cc-4769d0faa1c3" providerId="ADAL" clId="{A69D1CC3-CC99-4E10-BBB2-CE6DA348629D}" dt="2021-12-16T19:03:23.786" v="4178" actId="478"/>
          <ac:spMkLst>
            <pc:docMk/>
            <pc:sldMk cId="111925570" sldId="2134959165"/>
            <ac:spMk id="12" creationId="{D5658F4B-0C37-4B1C-B56E-4365D2EA2A92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3" creationId="{05C48BEB-A617-400A-BD5E-87D5207D34AC}"/>
          </ac:spMkLst>
        </pc:spChg>
        <pc:spChg chg="add del mod">
          <ac:chgData name="GSVE (Gianluca Stivale)" userId="b2f3af48-7d3d-4911-89cc-4769d0faa1c3" providerId="ADAL" clId="{A69D1CC3-CC99-4E10-BBB2-CE6DA348629D}" dt="2021-12-16T19:03:01.857" v="4167" actId="478"/>
          <ac:spMkLst>
            <pc:docMk/>
            <pc:sldMk cId="111925570" sldId="2134959165"/>
            <ac:spMk id="14" creationId="{DD71B7F7-5D07-47D3-AF89-983EE863F563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5" creationId="{AB3C1022-2ECC-429A-B9E3-99BFB1EC9518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6" creationId="{C58DA0E5-27ED-462F-A34B-62108D9F814F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7" creationId="{2CC42C7D-FEEB-4C47-908E-380836187A4C}"/>
          </ac:spMkLst>
        </pc:spChg>
        <pc:spChg chg="add mod">
          <ac:chgData name="GSVE (Gianluca Stivale)" userId="b2f3af48-7d3d-4911-89cc-4769d0faa1c3" providerId="ADAL" clId="{A69D1CC3-CC99-4E10-BBB2-CE6DA348629D}" dt="2021-12-20T08:07:35.327" v="10464" actId="1076"/>
          <ac:spMkLst>
            <pc:docMk/>
            <pc:sldMk cId="111925570" sldId="2134959165"/>
            <ac:spMk id="17" creationId="{40EF982D-C846-4EDC-816B-EDA869C54B84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8" creationId="{6443F62F-A00C-4AAE-9784-72C79100230F}"/>
          </ac:spMkLst>
        </pc:spChg>
        <pc:spChg chg="add mod">
          <ac:chgData name="GSVE (Gianluca Stivale)" userId="b2f3af48-7d3d-4911-89cc-4769d0faa1c3" providerId="ADAL" clId="{A69D1CC3-CC99-4E10-BBB2-CE6DA348629D}" dt="2021-12-20T08:25:48.883" v="10623" actId="208"/>
          <ac:spMkLst>
            <pc:docMk/>
            <pc:sldMk cId="111925570" sldId="2134959165"/>
            <ac:spMk id="18" creationId="{C0D76F6A-A855-4BCA-A6C1-E9C998911734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19" creationId="{3458C032-5231-4441-A64E-3B4CB0C8E3F6}"/>
          </ac:spMkLst>
        </pc:spChg>
        <pc:spChg chg="add mod">
          <ac:chgData name="GSVE (Gianluca Stivale)" userId="b2f3af48-7d3d-4911-89cc-4769d0faa1c3" providerId="ADAL" clId="{A69D1CC3-CC99-4E10-BBB2-CE6DA348629D}" dt="2021-12-20T08:22:32.060" v="10603" actId="208"/>
          <ac:spMkLst>
            <pc:docMk/>
            <pc:sldMk cId="111925570" sldId="2134959165"/>
            <ac:spMk id="19" creationId="{93B27CD8-E175-4E74-A268-D529E2DCD578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20" creationId="{2DD796A7-0AF1-4E19-BF43-9004DE049E54}"/>
          </ac:spMkLst>
        </pc:spChg>
        <pc:spChg chg="add mod">
          <ac:chgData name="GSVE (Gianluca Stivale)" userId="b2f3af48-7d3d-4911-89cc-4769d0faa1c3" providerId="ADAL" clId="{A69D1CC3-CC99-4E10-BBB2-CE6DA348629D}" dt="2021-12-20T08:22:32.060" v="10603" actId="208"/>
          <ac:spMkLst>
            <pc:docMk/>
            <pc:sldMk cId="111925570" sldId="2134959165"/>
            <ac:spMk id="20" creationId="{781C6BD4-1A0A-4568-9E26-2A2F299EEBCE}"/>
          </ac:spMkLst>
        </pc:spChg>
        <pc:spChg chg="add del mod">
          <ac:chgData name="GSVE (Gianluca Stivale)" userId="b2f3af48-7d3d-4911-89cc-4769d0faa1c3" providerId="ADAL" clId="{A69D1CC3-CC99-4E10-BBB2-CE6DA348629D}" dt="2021-12-16T19:16:25.401" v="4235" actId="478"/>
          <ac:spMkLst>
            <pc:docMk/>
            <pc:sldMk cId="111925570" sldId="2134959165"/>
            <ac:spMk id="21" creationId="{6146073C-9814-40D1-81E6-68CB8C7EBD90}"/>
          </ac:spMkLst>
        </pc:spChg>
        <pc:spChg chg="add mod">
          <ac:chgData name="GSVE (Gianluca Stivale)" userId="b2f3af48-7d3d-4911-89cc-4769d0faa1c3" providerId="ADAL" clId="{A69D1CC3-CC99-4E10-BBB2-CE6DA348629D}" dt="2021-12-20T08:22:32.060" v="10603" actId="208"/>
          <ac:spMkLst>
            <pc:docMk/>
            <pc:sldMk cId="111925570" sldId="2134959165"/>
            <ac:spMk id="21" creationId="{AFBA7BDA-8D63-4BFB-8533-84F23B4556FB}"/>
          </ac:spMkLst>
        </pc:spChg>
        <pc:spChg chg="add mod">
          <ac:chgData name="GSVE (Gianluca Stivale)" userId="b2f3af48-7d3d-4911-89cc-4769d0faa1c3" providerId="ADAL" clId="{A69D1CC3-CC99-4E10-BBB2-CE6DA348629D}" dt="2021-12-20T08:24:30.581" v="10614" actId="208"/>
          <ac:spMkLst>
            <pc:docMk/>
            <pc:sldMk cId="111925570" sldId="2134959165"/>
            <ac:spMk id="22" creationId="{2DEEFEF2-D4CF-4034-B746-2BDAE6CB5042}"/>
          </ac:spMkLst>
        </pc:spChg>
        <pc:spChg chg="add mod">
          <ac:chgData name="GSVE (Gianluca Stivale)" userId="b2f3af48-7d3d-4911-89cc-4769d0faa1c3" providerId="ADAL" clId="{A69D1CC3-CC99-4E10-BBB2-CE6DA348629D}" dt="2021-12-16T19:43:06.081" v="4575" actId="1038"/>
          <ac:spMkLst>
            <pc:docMk/>
            <pc:sldMk cId="111925570" sldId="2134959165"/>
            <ac:spMk id="23" creationId="{C4FADBC6-32D5-4387-B68C-17EB755AE68C}"/>
          </ac:spMkLst>
        </pc:spChg>
        <pc:spChg chg="add mod">
          <ac:chgData name="GSVE (Gianluca Stivale)" userId="b2f3af48-7d3d-4911-89cc-4769d0faa1c3" providerId="ADAL" clId="{A69D1CC3-CC99-4E10-BBB2-CE6DA348629D}" dt="2021-12-16T19:43:06.081" v="4575" actId="1038"/>
          <ac:spMkLst>
            <pc:docMk/>
            <pc:sldMk cId="111925570" sldId="2134959165"/>
            <ac:spMk id="24" creationId="{E30193E4-106C-4254-8CCB-3B6FA476485A}"/>
          </ac:spMkLst>
        </pc:spChg>
        <pc:spChg chg="add mod">
          <ac:chgData name="GSVE (Gianluca Stivale)" userId="b2f3af48-7d3d-4911-89cc-4769d0faa1c3" providerId="ADAL" clId="{A69D1CC3-CC99-4E10-BBB2-CE6DA348629D}" dt="2021-12-20T08:53:33.531" v="11299" actId="113"/>
          <ac:spMkLst>
            <pc:docMk/>
            <pc:sldMk cId="111925570" sldId="2134959165"/>
            <ac:spMk id="26" creationId="{37D30CD2-710A-47CC-9004-57DC744990F6}"/>
          </ac:spMkLst>
        </pc:spChg>
        <pc:spChg chg="add mod">
          <ac:chgData name="GSVE (Gianluca Stivale)" userId="b2f3af48-7d3d-4911-89cc-4769d0faa1c3" providerId="ADAL" clId="{A69D1CC3-CC99-4E10-BBB2-CE6DA348629D}" dt="2021-12-16T19:49:22.734" v="4688" actId="1076"/>
          <ac:spMkLst>
            <pc:docMk/>
            <pc:sldMk cId="111925570" sldId="2134959165"/>
            <ac:spMk id="32" creationId="{2FD1D3C1-44A4-4C3E-A591-A2F492DD430C}"/>
          </ac:spMkLst>
        </pc:spChg>
        <pc:spChg chg="add mod">
          <ac:chgData name="GSVE (Gianluca Stivale)" userId="b2f3af48-7d3d-4911-89cc-4769d0faa1c3" providerId="ADAL" clId="{A69D1CC3-CC99-4E10-BBB2-CE6DA348629D}" dt="2021-12-20T08:07:10.419" v="10462" actId="208"/>
          <ac:spMkLst>
            <pc:docMk/>
            <pc:sldMk cId="111925570" sldId="2134959165"/>
            <ac:spMk id="33" creationId="{96845CEE-2F65-4A82-AD04-F9217D738214}"/>
          </ac:spMkLst>
        </pc:spChg>
        <pc:spChg chg="add mod">
          <ac:chgData name="GSVE (Gianluca Stivale)" userId="b2f3af48-7d3d-4911-89cc-4769d0faa1c3" providerId="ADAL" clId="{A69D1CC3-CC99-4E10-BBB2-CE6DA348629D}" dt="2021-12-20T08:22:32.060" v="10603" actId="208"/>
          <ac:spMkLst>
            <pc:docMk/>
            <pc:sldMk cId="111925570" sldId="2134959165"/>
            <ac:spMk id="34" creationId="{3D2036A8-0638-4620-A588-96B4FEDDFD20}"/>
          </ac:spMkLst>
        </pc:spChg>
        <pc:spChg chg="add mod">
          <ac:chgData name="GSVE (Gianluca Stivale)" userId="b2f3af48-7d3d-4911-89cc-4769d0faa1c3" providerId="ADAL" clId="{A69D1CC3-CC99-4E10-BBB2-CE6DA348629D}" dt="2021-12-16T19:50:15.557" v="4700" actId="14100"/>
          <ac:spMkLst>
            <pc:docMk/>
            <pc:sldMk cId="111925570" sldId="2134959165"/>
            <ac:spMk id="35" creationId="{621BCB4D-4BAA-464D-8685-F568D1F4161F}"/>
          </ac:spMkLst>
        </pc:spChg>
        <pc:spChg chg="add mod">
          <ac:chgData name="GSVE (Gianluca Stivale)" userId="b2f3af48-7d3d-4911-89cc-4769d0faa1c3" providerId="ADAL" clId="{A69D1CC3-CC99-4E10-BBB2-CE6DA348629D}" dt="2021-12-20T08:24:17.499" v="10612" actId="208"/>
          <ac:spMkLst>
            <pc:docMk/>
            <pc:sldMk cId="111925570" sldId="2134959165"/>
            <ac:spMk id="36" creationId="{FB8A2BB8-E234-42B8-9C1F-0B174709AAAD}"/>
          </ac:spMkLst>
        </pc:spChg>
        <pc:spChg chg="add mod">
          <ac:chgData name="GSVE (Gianluca Stivale)" userId="b2f3af48-7d3d-4911-89cc-4769d0faa1c3" providerId="ADAL" clId="{A69D1CC3-CC99-4E10-BBB2-CE6DA348629D}" dt="2021-12-20T08:26:38.211" v="10629" actId="208"/>
          <ac:spMkLst>
            <pc:docMk/>
            <pc:sldMk cId="111925570" sldId="2134959165"/>
            <ac:spMk id="37" creationId="{71AA05F8-915A-4716-A1E7-6621074C12DD}"/>
          </ac:spMkLst>
        </pc:spChg>
        <pc:spChg chg="add mod">
          <ac:chgData name="GSVE (Gianluca Stivale)" userId="b2f3af48-7d3d-4911-89cc-4769d0faa1c3" providerId="ADAL" clId="{A69D1CC3-CC99-4E10-BBB2-CE6DA348629D}" dt="2021-12-16T19:51:21.102" v="4709" actId="1076"/>
          <ac:spMkLst>
            <pc:docMk/>
            <pc:sldMk cId="111925570" sldId="2134959165"/>
            <ac:spMk id="38" creationId="{F9C94440-01CD-4680-8F22-9BCD5B9E4DE1}"/>
          </ac:spMkLst>
        </pc:spChg>
        <pc:picChg chg="del">
          <ac:chgData name="GSVE (Gianluca Stivale)" userId="b2f3af48-7d3d-4911-89cc-4769d0faa1c3" providerId="ADAL" clId="{A69D1CC3-CC99-4E10-BBB2-CE6DA348629D}" dt="2021-12-16T18:47:07.297" v="4009" actId="478"/>
          <ac:picMkLst>
            <pc:docMk/>
            <pc:sldMk cId="111925570" sldId="2134959165"/>
            <ac:picMk id="2" creationId="{0D479EC7-15DF-4C2F-B52F-8D76DAB9C31C}"/>
          </ac:picMkLst>
        </pc:picChg>
        <pc:picChg chg="add del mod modCrop">
          <ac:chgData name="GSVE (Gianluca Stivale)" userId="b2f3af48-7d3d-4911-89cc-4769d0faa1c3" providerId="ADAL" clId="{A69D1CC3-CC99-4E10-BBB2-CE6DA348629D}" dt="2021-12-20T08:45:18.759" v="10750" actId="478"/>
          <ac:picMkLst>
            <pc:docMk/>
            <pc:sldMk cId="111925570" sldId="2134959165"/>
            <ac:picMk id="3" creationId="{1BC6CDF1-5711-4501-917D-4D09242778B0}"/>
          </ac:picMkLst>
        </pc:picChg>
        <pc:picChg chg="add mod modCrop">
          <ac:chgData name="GSVE (Gianluca Stivale)" userId="b2f3af48-7d3d-4911-89cc-4769d0faa1c3" providerId="ADAL" clId="{A69D1CC3-CC99-4E10-BBB2-CE6DA348629D}" dt="2021-12-20T08:09:50.026" v="10469" actId="1076"/>
          <ac:picMkLst>
            <pc:docMk/>
            <pc:sldMk cId="111925570" sldId="2134959165"/>
            <ac:picMk id="4" creationId="{68F58B05-ECE0-49EB-82DD-60D909D80E56}"/>
          </ac:picMkLst>
        </pc:picChg>
        <pc:picChg chg="add del mod">
          <ac:chgData name="GSVE (Gianluca Stivale)" userId="b2f3af48-7d3d-4911-89cc-4769d0faa1c3" providerId="ADAL" clId="{A69D1CC3-CC99-4E10-BBB2-CE6DA348629D}" dt="2021-12-16T19:16:25.401" v="4235" actId="478"/>
          <ac:picMkLst>
            <pc:docMk/>
            <pc:sldMk cId="111925570" sldId="2134959165"/>
            <ac:picMk id="6" creationId="{C994FBBC-1A81-4321-B85F-2FCD2137986B}"/>
          </ac:picMkLst>
        </pc:picChg>
        <pc:picChg chg="add del mod modCrop">
          <ac:chgData name="GSVE (Gianluca Stivale)" userId="b2f3af48-7d3d-4911-89cc-4769d0faa1c3" providerId="ADAL" clId="{A69D1CC3-CC99-4E10-BBB2-CE6DA348629D}" dt="2021-12-16T19:16:25.401" v="4235" actId="478"/>
          <ac:picMkLst>
            <pc:docMk/>
            <pc:sldMk cId="111925570" sldId="2134959165"/>
            <ac:picMk id="22" creationId="{4E273138-4D43-41CF-81E4-2CAF39D4A5F7}"/>
          </ac:picMkLst>
        </pc:picChg>
        <pc:cxnChg chg="add mod">
          <ac:chgData name="GSVE (Gianluca Stivale)" userId="b2f3af48-7d3d-4911-89cc-4769d0faa1c3" providerId="ADAL" clId="{A69D1CC3-CC99-4E10-BBB2-CE6DA348629D}" dt="2021-12-20T08:54:26.577" v="11300" actId="1582"/>
          <ac:cxnSpMkLst>
            <pc:docMk/>
            <pc:sldMk cId="111925570" sldId="2134959165"/>
            <ac:cxnSpMk id="27" creationId="{A74AD6CC-B9E8-4C0F-8202-98F2B0559628}"/>
          </ac:cxnSpMkLst>
        </pc:cxnChg>
        <pc:cxnChg chg="add mod">
          <ac:chgData name="GSVE (Gianluca Stivale)" userId="b2f3af48-7d3d-4911-89cc-4769d0faa1c3" providerId="ADAL" clId="{A69D1CC3-CC99-4E10-BBB2-CE6DA348629D}" dt="2021-12-20T08:54:26.577" v="11300" actId="1582"/>
          <ac:cxnSpMkLst>
            <pc:docMk/>
            <pc:sldMk cId="111925570" sldId="2134959165"/>
            <ac:cxnSpMk id="29" creationId="{C27A41D4-DFAD-4B4A-95B6-50DA7518929C}"/>
          </ac:cxnSpMkLst>
        </pc:cxnChg>
      </pc:sldChg>
      <pc:sldChg chg="addSp delSp modSp add mod ord modNotesTx">
        <pc:chgData name="GSVE (Gianluca Stivale)" userId="b2f3af48-7d3d-4911-89cc-4769d0faa1c3" providerId="ADAL" clId="{A69D1CC3-CC99-4E10-BBB2-CE6DA348629D}" dt="2021-12-21T10:04:56.447" v="17049"/>
        <pc:sldMkLst>
          <pc:docMk/>
          <pc:sldMk cId="581497713" sldId="2134959166"/>
        </pc:sldMkLst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7" creationId="{72326F79-A372-4961-A3AB-DD9CFFDF0BE4}"/>
          </ac:spMkLst>
        </pc:spChg>
        <pc:spChg chg="mod">
          <ac:chgData name="GSVE (Gianluca Stivale)" userId="b2f3af48-7d3d-4911-89cc-4769d0faa1c3" providerId="ADAL" clId="{A69D1CC3-CC99-4E10-BBB2-CE6DA348629D}" dt="2021-12-16T19:17:10.966" v="4248" actId="1076"/>
          <ac:spMkLst>
            <pc:docMk/>
            <pc:sldMk cId="581497713" sldId="2134959166"/>
            <ac:spMk id="10" creationId="{13628171-19A7-4058-858E-D4C55001D35A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3" creationId="{05C48BEB-A617-400A-BD5E-87D5207D34AC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5" creationId="{AB3C1022-2ECC-429A-B9E3-99BFB1EC9518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6" creationId="{C58DA0E5-27ED-462F-A34B-62108D9F814F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7" creationId="{2CC42C7D-FEEB-4C47-908E-380836187A4C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8" creationId="{6443F62F-A00C-4AAE-9784-72C79100230F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19" creationId="{3458C032-5231-4441-A64E-3B4CB0C8E3F6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20" creationId="{2DD796A7-0AF1-4E19-BF43-9004DE049E54}"/>
          </ac:spMkLst>
        </pc:spChg>
        <pc:spChg chg="mod">
          <ac:chgData name="GSVE (Gianluca Stivale)" userId="b2f3af48-7d3d-4911-89cc-4769d0faa1c3" providerId="ADAL" clId="{A69D1CC3-CC99-4E10-BBB2-CE6DA348629D}" dt="2021-12-20T08:38:29.033" v="10657" actId="1035"/>
          <ac:spMkLst>
            <pc:docMk/>
            <pc:sldMk cId="581497713" sldId="2134959166"/>
            <ac:spMk id="21" creationId="{6146073C-9814-40D1-81E6-68CB8C7EBD90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23" creationId="{F2A8849D-C8BA-4F20-B772-183ACC51C2FE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24" creationId="{3169276D-43CE-4BE3-9A95-785F4E841A7D}"/>
          </ac:spMkLst>
        </pc:spChg>
        <pc:spChg chg="add mod">
          <ac:chgData name="GSVE (Gianluca Stivale)" userId="b2f3af48-7d3d-4911-89cc-4769d0faa1c3" providerId="ADAL" clId="{A69D1CC3-CC99-4E10-BBB2-CE6DA348629D}" dt="2021-12-16T19:29:42.341" v="4399" actId="1037"/>
          <ac:spMkLst>
            <pc:docMk/>
            <pc:sldMk cId="581497713" sldId="2134959166"/>
            <ac:spMk id="25" creationId="{017A1D1C-EC9D-4B86-9936-D5F43A1AD5BF}"/>
          </ac:spMkLst>
        </pc:spChg>
        <pc:spChg chg="add mod">
          <ac:chgData name="GSVE (Gianluca Stivale)" userId="b2f3af48-7d3d-4911-89cc-4769d0faa1c3" providerId="ADAL" clId="{A69D1CC3-CC99-4E10-BBB2-CE6DA348629D}" dt="2021-12-16T19:29:42.341" v="4399" actId="1037"/>
          <ac:spMkLst>
            <pc:docMk/>
            <pc:sldMk cId="581497713" sldId="2134959166"/>
            <ac:spMk id="26" creationId="{30805F1D-3496-40C4-9978-FA331F6DAE71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27" creationId="{62E6A6A9-C0CA-4A36-89B8-9B8750398FBF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28" creationId="{4CCB0671-CE03-4C2B-9BEA-BB1B802C5EE4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29" creationId="{F6BA8AD5-51A4-43A1-87E5-2C2848394B60}"/>
          </ac:spMkLst>
        </pc:spChg>
        <pc:spChg chg="add mod">
          <ac:chgData name="GSVE (Gianluca Stivale)" userId="b2f3af48-7d3d-4911-89cc-4769d0faa1c3" providerId="ADAL" clId="{A69D1CC3-CC99-4E10-BBB2-CE6DA348629D}" dt="2021-12-16T19:24:22.585" v="4328" actId="1037"/>
          <ac:spMkLst>
            <pc:docMk/>
            <pc:sldMk cId="581497713" sldId="2134959166"/>
            <ac:spMk id="30" creationId="{D61887FA-FCBE-47A6-9EAE-78E5B19615E9}"/>
          </ac:spMkLst>
        </pc:spChg>
        <pc:spChg chg="add mod">
          <ac:chgData name="GSVE (Gianluca Stivale)" userId="b2f3af48-7d3d-4911-89cc-4769d0faa1c3" providerId="ADAL" clId="{A69D1CC3-CC99-4E10-BBB2-CE6DA348629D}" dt="2021-12-20T08:40:16.076" v="10677" actId="207"/>
          <ac:spMkLst>
            <pc:docMk/>
            <pc:sldMk cId="581497713" sldId="2134959166"/>
            <ac:spMk id="31" creationId="{4FC680CB-7054-416E-A10A-E4FCA7983668}"/>
          </ac:spMkLst>
        </pc:spChg>
        <pc:spChg chg="del">
          <ac:chgData name="GSVE (Gianluca Stivale)" userId="b2f3af48-7d3d-4911-89cc-4769d0faa1c3" providerId="ADAL" clId="{A69D1CC3-CC99-4E10-BBB2-CE6DA348629D}" dt="2021-12-21T10:04:56.447" v="17049"/>
          <ac:spMkLst>
            <pc:docMk/>
            <pc:sldMk cId="581497713" sldId="2134959166"/>
            <ac:spMk id="32" creationId="{ADDF62DA-AF96-44B4-8287-5D4F4C7FAD7C}"/>
          </ac:spMkLst>
        </pc:spChg>
        <pc:picChg chg="del">
          <ac:chgData name="GSVE (Gianluca Stivale)" userId="b2f3af48-7d3d-4911-89cc-4769d0faa1c3" providerId="ADAL" clId="{A69D1CC3-CC99-4E10-BBB2-CE6DA348629D}" dt="2021-12-16T19:16:37.808" v="4240" actId="478"/>
          <ac:picMkLst>
            <pc:docMk/>
            <pc:sldMk cId="581497713" sldId="2134959166"/>
            <ac:picMk id="4" creationId="{68F58B05-ECE0-49EB-82DD-60D909D80E56}"/>
          </ac:picMkLst>
        </pc:picChg>
        <pc:picChg chg="mod">
          <ac:chgData name="GSVE (Gianluca Stivale)" userId="b2f3af48-7d3d-4911-89cc-4769d0faa1c3" providerId="ADAL" clId="{A69D1CC3-CC99-4E10-BBB2-CE6DA348629D}" dt="2021-12-20T08:38:29.033" v="10657" actId="1035"/>
          <ac:picMkLst>
            <pc:docMk/>
            <pc:sldMk cId="581497713" sldId="2134959166"/>
            <ac:picMk id="6" creationId="{C994FBBC-1A81-4321-B85F-2FCD2137986B}"/>
          </ac:picMkLst>
        </pc:picChg>
        <pc:picChg chg="mod">
          <ac:chgData name="GSVE (Gianluca Stivale)" userId="b2f3af48-7d3d-4911-89cc-4769d0faa1c3" providerId="ADAL" clId="{A69D1CC3-CC99-4E10-BBB2-CE6DA348629D}" dt="2021-12-16T19:24:22.585" v="4328" actId="1037"/>
          <ac:picMkLst>
            <pc:docMk/>
            <pc:sldMk cId="581497713" sldId="2134959166"/>
            <ac:picMk id="22" creationId="{4E273138-4D43-41CF-81E4-2CAF39D4A5F7}"/>
          </ac:picMkLst>
        </pc:picChg>
      </pc:sldChg>
      <pc:sldChg chg="new del">
        <pc:chgData name="GSVE (Gianluca Stivale)" userId="b2f3af48-7d3d-4911-89cc-4769d0faa1c3" providerId="ADAL" clId="{A69D1CC3-CC99-4E10-BBB2-CE6DA348629D}" dt="2021-12-16T19:04:51.024" v="4194" actId="680"/>
        <pc:sldMkLst>
          <pc:docMk/>
          <pc:sldMk cId="2738005015" sldId="2134959166"/>
        </pc:sldMkLst>
      </pc:sldChg>
      <pc:sldChg chg="addSp delSp modSp add mod delAnim modNotesTx">
        <pc:chgData name="GSVE (Gianluca Stivale)" userId="b2f3af48-7d3d-4911-89cc-4769d0faa1c3" providerId="ADAL" clId="{A69D1CC3-CC99-4E10-BBB2-CE6DA348629D}" dt="2021-12-20T11:10:46.628" v="14931" actId="113"/>
        <pc:sldMkLst>
          <pc:docMk/>
          <pc:sldMk cId="3484418882" sldId="2134959167"/>
        </pc:sldMkLst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17" creationId="{40EF982D-C846-4EDC-816B-EDA869C54B84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18" creationId="{C0D76F6A-A855-4BCA-A6C1-E9C998911734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19" creationId="{93B27CD8-E175-4E74-A268-D529E2DCD578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20" creationId="{781C6BD4-1A0A-4568-9E26-2A2F299EEBCE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21" creationId="{AFBA7BDA-8D63-4BFB-8533-84F23B4556FB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22" creationId="{2DEEFEF2-D4CF-4034-B746-2BDAE6CB5042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23" creationId="{C4FADBC6-32D5-4387-B68C-17EB755AE68C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24" creationId="{E30193E4-106C-4254-8CCB-3B6FA476485A}"/>
          </ac:spMkLst>
        </pc:spChg>
        <pc:spChg chg="add mod">
          <ac:chgData name="GSVE (Gianluca Stivale)" userId="b2f3af48-7d3d-4911-89cc-4769d0faa1c3" providerId="ADAL" clId="{A69D1CC3-CC99-4E10-BBB2-CE6DA348629D}" dt="2021-12-20T08:45:02.501" v="10714" actId="14100"/>
          <ac:spMkLst>
            <pc:docMk/>
            <pc:sldMk cId="3484418882" sldId="2134959167"/>
            <ac:spMk id="25" creationId="{6D716CB8-C84E-4A49-B3CB-97FFEC61E7E0}"/>
          </ac:spMkLst>
        </pc:spChg>
        <pc:spChg chg="mod">
          <ac:chgData name="GSVE (Gianluca Stivale)" userId="b2f3af48-7d3d-4911-89cc-4769d0faa1c3" providerId="ADAL" clId="{A69D1CC3-CC99-4E10-BBB2-CE6DA348629D}" dt="2021-12-20T09:29:30.423" v="13138" actId="6549"/>
          <ac:spMkLst>
            <pc:docMk/>
            <pc:sldMk cId="3484418882" sldId="2134959167"/>
            <ac:spMk id="26" creationId="{37D30CD2-710A-47CC-9004-57DC744990F6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2" creationId="{2FD1D3C1-44A4-4C3E-A591-A2F492DD430C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3" creationId="{96845CEE-2F65-4A82-AD04-F9217D738214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4" creationId="{3D2036A8-0638-4620-A588-96B4FEDDFD20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5" creationId="{621BCB4D-4BAA-464D-8685-F568D1F4161F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6" creationId="{FB8A2BB8-E234-42B8-9C1F-0B174709AAAD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7" creationId="{71AA05F8-915A-4716-A1E7-6621074C12DD}"/>
          </ac:spMkLst>
        </pc:spChg>
        <pc:spChg chg="del">
          <ac:chgData name="GSVE (Gianluca Stivale)" userId="b2f3af48-7d3d-4911-89cc-4769d0faa1c3" providerId="ADAL" clId="{A69D1CC3-CC99-4E10-BBB2-CE6DA348629D}" dt="2021-12-20T08:44:04.663" v="10691" actId="478"/>
          <ac:spMkLst>
            <pc:docMk/>
            <pc:sldMk cId="3484418882" sldId="2134959167"/>
            <ac:spMk id="38" creationId="{F9C94440-01CD-4680-8F22-9BCD5B9E4DE1}"/>
          </ac:spMkLst>
        </pc:spChg>
        <pc:picChg chg="mod">
          <ac:chgData name="GSVE (Gianluca Stivale)" userId="b2f3af48-7d3d-4911-89cc-4769d0faa1c3" providerId="ADAL" clId="{A69D1CC3-CC99-4E10-BBB2-CE6DA348629D}" dt="2021-12-20T08:44:37.547" v="10710" actId="1076"/>
          <ac:picMkLst>
            <pc:docMk/>
            <pc:sldMk cId="3484418882" sldId="2134959167"/>
            <ac:picMk id="3" creationId="{1BC6CDF1-5711-4501-917D-4D09242778B0}"/>
          </ac:picMkLst>
        </pc:picChg>
        <pc:picChg chg="del">
          <ac:chgData name="GSVE (Gianluca Stivale)" userId="b2f3af48-7d3d-4911-89cc-4769d0faa1c3" providerId="ADAL" clId="{A69D1CC3-CC99-4E10-BBB2-CE6DA348629D}" dt="2021-12-20T08:44:04.663" v="10691" actId="478"/>
          <ac:picMkLst>
            <pc:docMk/>
            <pc:sldMk cId="3484418882" sldId="2134959167"/>
            <ac:picMk id="4" creationId="{68F58B05-ECE0-49EB-82DD-60D909D80E56}"/>
          </ac:picMkLst>
        </pc:picChg>
        <pc:cxnChg chg="del">
          <ac:chgData name="GSVE (Gianluca Stivale)" userId="b2f3af48-7d3d-4911-89cc-4769d0faa1c3" providerId="ADAL" clId="{A69D1CC3-CC99-4E10-BBB2-CE6DA348629D}" dt="2021-12-20T08:44:04.663" v="10691" actId="478"/>
          <ac:cxnSpMkLst>
            <pc:docMk/>
            <pc:sldMk cId="3484418882" sldId="2134959167"/>
            <ac:cxnSpMk id="27" creationId="{A74AD6CC-B9E8-4C0F-8202-98F2B0559628}"/>
          </ac:cxnSpMkLst>
        </pc:cxnChg>
        <pc:cxnChg chg="del">
          <ac:chgData name="GSVE (Gianluca Stivale)" userId="b2f3af48-7d3d-4911-89cc-4769d0faa1c3" providerId="ADAL" clId="{A69D1CC3-CC99-4E10-BBB2-CE6DA348629D}" dt="2021-12-20T08:44:04.663" v="10691" actId="478"/>
          <ac:cxnSpMkLst>
            <pc:docMk/>
            <pc:sldMk cId="3484418882" sldId="2134959167"/>
            <ac:cxnSpMk id="29" creationId="{C27A41D4-DFAD-4B4A-95B6-50DA7518929C}"/>
          </ac:cxnSpMkLst>
        </pc:cxnChg>
      </pc:sldChg>
      <pc:sldChg chg="new del">
        <pc:chgData name="GSVE (Gianluca Stivale)" userId="b2f3af48-7d3d-4911-89cc-4769d0faa1c3" providerId="ADAL" clId="{A69D1CC3-CC99-4E10-BBB2-CE6DA348629D}" dt="2021-12-16T19:04:50.475" v="4193" actId="680"/>
        <pc:sldMkLst>
          <pc:docMk/>
          <pc:sldMk cId="4015058717" sldId="2134959167"/>
        </pc:sldMkLst>
      </pc:sldChg>
      <pc:sldChg chg="addSp delSp modSp add mod ord delAnim modShow modNotesTx">
        <pc:chgData name="GSVE (Gianluca Stivale)" userId="b2f3af48-7d3d-4911-89cc-4769d0faa1c3" providerId="ADAL" clId="{A69D1CC3-CC99-4E10-BBB2-CE6DA348629D}" dt="2021-12-20T11:37:51.524" v="15138" actId="729"/>
        <pc:sldMkLst>
          <pc:docMk/>
          <pc:sldMk cId="960316364" sldId="2134959168"/>
        </pc:sldMkLst>
        <pc:spChg chg="mod">
          <ac:chgData name="GSVE (Gianluca Stivale)" userId="b2f3af48-7d3d-4911-89cc-4769d0faa1c3" providerId="ADAL" clId="{A69D1CC3-CC99-4E10-BBB2-CE6DA348629D}" dt="2021-12-20T11:37:16.245" v="15118" actId="20577"/>
          <ac:spMkLst>
            <pc:docMk/>
            <pc:sldMk cId="960316364" sldId="2134959168"/>
            <ac:spMk id="2" creationId="{6AECB97B-F6C2-C04B-8A40-79282510E848}"/>
          </ac:spMkLst>
        </pc:spChg>
        <pc:spChg chg="del">
          <ac:chgData name="GSVE (Gianluca Stivale)" userId="b2f3af48-7d3d-4911-89cc-4769d0faa1c3" providerId="ADAL" clId="{A69D1CC3-CC99-4E10-BBB2-CE6DA348629D}" dt="2021-12-20T10:50:28.533" v="14527" actId="478"/>
          <ac:spMkLst>
            <pc:docMk/>
            <pc:sldMk cId="960316364" sldId="2134959168"/>
            <ac:spMk id="5" creationId="{4AF33411-3F0E-4AF9-B418-93550726DB20}"/>
          </ac:spMkLst>
        </pc:spChg>
        <pc:spChg chg="del">
          <ac:chgData name="GSVE (Gianluca Stivale)" userId="b2f3af48-7d3d-4911-89cc-4769d0faa1c3" providerId="ADAL" clId="{A69D1CC3-CC99-4E10-BBB2-CE6DA348629D}" dt="2021-12-20T10:50:28.533" v="14527" actId="478"/>
          <ac:spMkLst>
            <pc:docMk/>
            <pc:sldMk cId="960316364" sldId="2134959168"/>
            <ac:spMk id="6" creationId="{E7F7C332-D42F-4378-A41D-6C0990594F11}"/>
          </ac:spMkLst>
        </pc:spChg>
        <pc:spChg chg="mod">
          <ac:chgData name="GSVE (Gianluca Stivale)" userId="b2f3af48-7d3d-4911-89cc-4769d0faa1c3" providerId="ADAL" clId="{A69D1CC3-CC99-4E10-BBB2-CE6DA348629D}" dt="2021-12-20T11:36:02.781" v="15031" actId="13926"/>
          <ac:spMkLst>
            <pc:docMk/>
            <pc:sldMk cId="960316364" sldId="2134959168"/>
            <ac:spMk id="7" creationId="{88E748E6-AB6C-4177-BCD5-B760FDFA7908}"/>
          </ac:spMkLst>
        </pc:spChg>
        <pc:spChg chg="del mod">
          <ac:chgData name="GSVE (Gianluca Stivale)" userId="b2f3af48-7d3d-4911-89cc-4769d0faa1c3" providerId="ADAL" clId="{A69D1CC3-CC99-4E10-BBB2-CE6DA348629D}" dt="2021-12-20T11:36:00" v="15030" actId="478"/>
          <ac:spMkLst>
            <pc:docMk/>
            <pc:sldMk cId="960316364" sldId="2134959168"/>
            <ac:spMk id="13" creationId="{8A2AC64B-9D27-4B26-946F-0FF6C3319168}"/>
          </ac:spMkLst>
        </pc:spChg>
        <pc:spChg chg="add mod">
          <ac:chgData name="GSVE (Gianluca Stivale)" userId="b2f3af48-7d3d-4911-89cc-4769d0faa1c3" providerId="ADAL" clId="{A69D1CC3-CC99-4E10-BBB2-CE6DA348629D}" dt="2021-12-20T11:36:59.752" v="15097" actId="1076"/>
          <ac:spMkLst>
            <pc:docMk/>
            <pc:sldMk cId="960316364" sldId="2134959168"/>
            <ac:spMk id="14" creationId="{13A4B678-813A-4C19-9A84-13BFC6F11E11}"/>
          </ac:spMkLst>
        </pc:spChg>
        <pc:picChg chg="del">
          <ac:chgData name="GSVE (Gianluca Stivale)" userId="b2f3af48-7d3d-4911-89cc-4769d0faa1c3" providerId="ADAL" clId="{A69D1CC3-CC99-4E10-BBB2-CE6DA348629D}" dt="2021-12-20T10:50:28.533" v="14527" actId="478"/>
          <ac:picMkLst>
            <pc:docMk/>
            <pc:sldMk cId="960316364" sldId="2134959168"/>
            <ac:picMk id="3" creationId="{84492BA1-D8A2-5040-A6AA-E08765256F52}"/>
          </ac:picMkLst>
        </pc:picChg>
        <pc:picChg chg="add del mod ord modCrop">
          <ac:chgData name="GSVE (Gianluca Stivale)" userId="b2f3af48-7d3d-4911-89cc-4769d0faa1c3" providerId="ADAL" clId="{A69D1CC3-CC99-4E10-BBB2-CE6DA348629D}" dt="2021-12-20T11:33:45.144" v="14988" actId="166"/>
          <ac:picMkLst>
            <pc:docMk/>
            <pc:sldMk cId="960316364" sldId="2134959168"/>
            <ac:picMk id="10" creationId="{80A1449F-655D-420A-8AC8-B60193BFBE79}"/>
          </ac:picMkLst>
        </pc:picChg>
        <pc:picChg chg="add mod modCrop">
          <ac:chgData name="GSVE (Gianluca Stivale)" userId="b2f3af48-7d3d-4911-89cc-4769d0faa1c3" providerId="ADAL" clId="{A69D1CC3-CC99-4E10-BBB2-CE6DA348629D}" dt="2021-12-20T11:33:39.004" v="14986" actId="1076"/>
          <ac:picMkLst>
            <pc:docMk/>
            <pc:sldMk cId="960316364" sldId="2134959168"/>
            <ac:picMk id="12" creationId="{907B465E-E400-47AB-80B1-DBBF749BBE3E}"/>
          </ac:picMkLst>
        </pc:picChg>
        <pc:cxnChg chg="del">
          <ac:chgData name="GSVE (Gianluca Stivale)" userId="b2f3af48-7d3d-4911-89cc-4769d0faa1c3" providerId="ADAL" clId="{A69D1CC3-CC99-4E10-BBB2-CE6DA348629D}" dt="2021-12-20T10:50:28.533" v="14527" actId="478"/>
          <ac:cxnSpMkLst>
            <pc:docMk/>
            <pc:sldMk cId="960316364" sldId="2134959168"/>
            <ac:cxnSpMk id="9" creationId="{8EC56D64-9899-4C05-BC3E-1C152FF4B5E5}"/>
          </ac:cxnSpMkLst>
        </pc:cxnChg>
      </pc:sldChg>
      <pc:sldChg chg="mod modShow">
        <pc:chgData name="GSVE (Gianluca Stivale)" userId="b2f3af48-7d3d-4911-89cc-4769d0faa1c3" providerId="ADAL" clId="{A69D1CC3-CC99-4E10-BBB2-CE6DA348629D}" dt="2021-12-20T13:43:06.444" v="16206" actId="729"/>
        <pc:sldMkLst>
          <pc:docMk/>
          <pc:sldMk cId="2835991586" sldId="2134959169"/>
        </pc:sldMkLst>
      </pc:sldChg>
      <pc:sldChg chg="addSp delSp add del mod addAnim delAnim">
        <pc:chgData name="GSVE (Gianluca Stivale)" userId="b2f3af48-7d3d-4911-89cc-4769d0faa1c3" providerId="ADAL" clId="{A69D1CC3-CC99-4E10-BBB2-CE6DA348629D}" dt="2021-12-20T18:52:45.105" v="17011" actId="2890"/>
        <pc:sldMkLst>
          <pc:docMk/>
          <pc:sldMk cId="825181019" sldId="2134959170"/>
        </pc:sldMkLst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17" creationId="{40EF982D-C846-4EDC-816B-EDA869C54B84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18" creationId="{C0D76F6A-A855-4BCA-A6C1-E9C998911734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19" creationId="{93B27CD8-E175-4E74-A268-D529E2DCD578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20" creationId="{781C6BD4-1A0A-4568-9E26-2A2F299EEBCE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21" creationId="{AFBA7BDA-8D63-4BFB-8533-84F23B4556FB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22" creationId="{2DEEFEF2-D4CF-4034-B746-2BDAE6CB5042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2" creationId="{2FD1D3C1-44A4-4C3E-A591-A2F492DD430C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3" creationId="{96845CEE-2F65-4A82-AD04-F9217D738214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4" creationId="{3D2036A8-0638-4620-A588-96B4FEDDFD20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5" creationId="{621BCB4D-4BAA-464D-8685-F568D1F4161F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6" creationId="{FB8A2BB8-E234-42B8-9C1F-0B174709AAAD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7" creationId="{71AA05F8-915A-4716-A1E7-6621074C12DD}"/>
          </ac:spMkLst>
        </pc:spChg>
        <pc:spChg chg="add del">
          <ac:chgData name="GSVE (Gianluca Stivale)" userId="b2f3af48-7d3d-4911-89cc-4769d0faa1c3" providerId="ADAL" clId="{A69D1CC3-CC99-4E10-BBB2-CE6DA348629D}" dt="2021-12-20T18:52:41.858" v="17009" actId="478"/>
          <ac:spMkLst>
            <pc:docMk/>
            <pc:sldMk cId="825181019" sldId="2134959170"/>
            <ac:spMk id="38" creationId="{F9C94440-01CD-4680-8F22-9BCD5B9E4DE1}"/>
          </ac:spMkLst>
        </pc:spChg>
      </pc:sldChg>
      <pc:sldChg chg="delSp add mod delAnim modAnim modShow">
        <pc:chgData name="GSVE (Gianluca Stivale)" userId="b2f3af48-7d3d-4911-89cc-4769d0faa1c3" providerId="ADAL" clId="{A69D1CC3-CC99-4E10-BBB2-CE6DA348629D}" dt="2021-12-21T10:05:26.189" v="17053" actId="729"/>
        <pc:sldMkLst>
          <pc:docMk/>
          <pc:sldMk cId="2142938793" sldId="2134959170"/>
        </pc:sldMkLst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17" creationId="{40EF982D-C846-4EDC-816B-EDA869C54B84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18" creationId="{C0D76F6A-A855-4BCA-A6C1-E9C998911734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19" creationId="{93B27CD8-E175-4E74-A268-D529E2DCD578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20" creationId="{781C6BD4-1A0A-4568-9E26-2A2F299EEBCE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21" creationId="{AFBA7BDA-8D63-4BFB-8533-84F23B4556FB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22" creationId="{2DEEFEF2-D4CF-4034-B746-2BDAE6CB5042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2" creationId="{2FD1D3C1-44A4-4C3E-A591-A2F492DD430C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3" creationId="{96845CEE-2F65-4A82-AD04-F9217D738214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4" creationId="{3D2036A8-0638-4620-A588-96B4FEDDFD20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5" creationId="{621BCB4D-4BAA-464D-8685-F568D1F4161F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6" creationId="{FB8A2BB8-E234-42B8-9C1F-0B174709AAAD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7" creationId="{71AA05F8-915A-4716-A1E7-6621074C12DD}"/>
          </ac:spMkLst>
        </pc:spChg>
        <pc:spChg chg="del">
          <ac:chgData name="GSVE (Gianluca Stivale)" userId="b2f3af48-7d3d-4911-89cc-4769d0faa1c3" providerId="ADAL" clId="{A69D1CC3-CC99-4E10-BBB2-CE6DA348629D}" dt="2021-12-21T10:05:16.658" v="17051" actId="478"/>
          <ac:spMkLst>
            <pc:docMk/>
            <pc:sldMk cId="2142938793" sldId="2134959170"/>
            <ac:spMk id="38" creationId="{F9C94440-01CD-4680-8F22-9BCD5B9E4DE1}"/>
          </ac:spMkLst>
        </pc:spChg>
      </pc:sldChg>
      <pc:sldMasterChg chg="delSldLayout">
        <pc:chgData name="GSVE (Gianluca Stivale)" userId="b2f3af48-7d3d-4911-89cc-4769d0faa1c3" providerId="ADAL" clId="{A69D1CC3-CC99-4E10-BBB2-CE6DA348629D}" dt="2021-12-16T14:58:54.971" v="3918" actId="47"/>
        <pc:sldMasterMkLst>
          <pc:docMk/>
          <pc:sldMasterMk cId="180999990" sldId="2147483648"/>
        </pc:sldMasterMkLst>
        <pc:sldLayoutChg chg="del">
          <pc:chgData name="GSVE (Gianluca Stivale)" userId="b2f3af48-7d3d-4911-89cc-4769d0faa1c3" providerId="ADAL" clId="{A69D1CC3-CC99-4E10-BBB2-CE6DA348629D}" dt="2021-12-16T14:58:54.971" v="3918" actId="47"/>
          <pc:sldLayoutMkLst>
            <pc:docMk/>
            <pc:sldMasterMk cId="180999990" sldId="2147483648"/>
            <pc:sldLayoutMk cId="1937032270" sldId="214748404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38500779925044"/>
          <c:y val="6.0081261995198081E-2"/>
          <c:w val="0.85662055536335779"/>
          <c:h val="0.7032634625946271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omen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diamond"/>
            <c:size val="6"/>
            <c:spPr>
              <a:solidFill>
                <a:schemeClr val="accent2"/>
              </a:solidFill>
              <a:ln>
                <a:solidFill>
                  <a:srgbClr val="001965"/>
                </a:solidFill>
              </a:ln>
            </c:spPr>
          </c:marker>
          <c:cat>
            <c:strRef>
              <c:f>Sheet1!$A$2:$A$11</c:f>
              <c:strCache>
                <c:ptCount val="10"/>
                <c:pt idx="0">
                  <c:v>&lt;16.0</c:v>
                </c:pt>
                <c:pt idx="1">
                  <c:v> 16.0–17.9</c:v>
                </c:pt>
                <c:pt idx="2">
                  <c:v>18.0–19.9</c:v>
                </c:pt>
                <c:pt idx="3">
                  <c:v>20.0–21.9</c:v>
                </c:pt>
                <c:pt idx="4">
                  <c:v>22.0–23.9</c:v>
                </c:pt>
                <c:pt idx="5">
                  <c:v>24.0–25.9</c:v>
                </c:pt>
                <c:pt idx="6">
                  <c:v>26.0–27.9</c:v>
                </c:pt>
                <c:pt idx="7">
                  <c:v>28.0–29.9</c:v>
                </c:pt>
                <c:pt idx="8">
                  <c:v>30.0–31.9
Obese</c:v>
                </c:pt>
                <c:pt idx="9">
                  <c:v>≥32
Obes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.2</c:v>
                </c:pt>
                <c:pt idx="1">
                  <c:v>1.1000000000000001</c:v>
                </c:pt>
                <c:pt idx="2">
                  <c:v>1</c:v>
                </c:pt>
                <c:pt idx="3">
                  <c:v>1</c:v>
                </c:pt>
                <c:pt idx="4">
                  <c:v>1.1000000000000001</c:v>
                </c:pt>
                <c:pt idx="5">
                  <c:v>1.3</c:v>
                </c:pt>
                <c:pt idx="6">
                  <c:v>1.7</c:v>
                </c:pt>
                <c:pt idx="7">
                  <c:v>2.4</c:v>
                </c:pt>
                <c:pt idx="8">
                  <c:v>2.7</c:v>
                </c:pt>
                <c:pt idx="9">
                  <c:v>2.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82D2-437B-A274-E1122110E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6735472"/>
        <c:axId val="546735864"/>
      </c:lineChart>
      <c:catAx>
        <c:axId val="5467354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lang="en-GB" sz="1200" b="0" i="0" u="none" strike="noStrike" baseline="0" dirty="0">
                    <a:solidFill>
                      <a:srgbClr val="001965"/>
                    </a:solidFill>
                    <a:latin typeface="Verdana"/>
                    <a:ea typeface="Verdana"/>
                    <a:cs typeface="Verdana"/>
                  </a:defRPr>
                </a:pPr>
                <a:r>
                  <a:rPr lang="en-GB" dirty="0"/>
                  <a:t>BMI range at 18 years of age (kg/m2)</a:t>
                </a:r>
              </a:p>
            </c:rich>
          </c:tx>
          <c:layout>
            <c:manualLayout>
              <c:xMode val="edge"/>
              <c:yMode val="edge"/>
              <c:x val="0.3515599371681089"/>
              <c:y val="0.9000656709527514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19050">
            <a:solidFill>
              <a:srgbClr val="001965"/>
            </a:solidFill>
          </a:ln>
        </c:spPr>
        <c:txPr>
          <a:bodyPr/>
          <a:lstStyle/>
          <a:p>
            <a:pPr>
              <a:defRPr sz="1000">
                <a:solidFill>
                  <a:srgbClr val="001965"/>
                </a:solidFill>
              </a:defRPr>
            </a:pPr>
            <a:endParaRPr lang="it-IT"/>
          </a:p>
        </c:txPr>
        <c:crossAx val="546735864"/>
        <c:crosses val="autoZero"/>
        <c:auto val="1"/>
        <c:lblAlgn val="ctr"/>
        <c:lblOffset val="100"/>
        <c:noMultiLvlLbl val="0"/>
      </c:catAx>
      <c:valAx>
        <c:axId val="546735864"/>
        <c:scaling>
          <c:orientation val="minMax"/>
          <c:max val="3"/>
          <c:min val="0.60000000000000009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ln w="19050">
            <a:solidFill>
              <a:srgbClr val="001965"/>
            </a:solidFill>
          </a:ln>
        </c:spPr>
        <c:txPr>
          <a:bodyPr/>
          <a:lstStyle/>
          <a:p>
            <a:pPr>
              <a:defRPr sz="1000">
                <a:solidFill>
                  <a:srgbClr val="001965"/>
                </a:solidFill>
              </a:defRPr>
            </a:pPr>
            <a:endParaRPr lang="it-IT"/>
          </a:p>
        </c:txPr>
        <c:crossAx val="546735472"/>
        <c:crossesAt val="1"/>
        <c:crossBetween val="between"/>
        <c:majorUnit val="0.4"/>
      </c:valAx>
      <c:spPr>
        <a:noFill/>
        <a:ln w="25321">
          <a:noFill/>
        </a:ln>
      </c:spPr>
    </c:plotArea>
    <c:plotVisOnly val="1"/>
    <c:dispBlanksAs val="gap"/>
    <c:showDLblsOverMax val="0"/>
  </c:chart>
  <c:txPr>
    <a:bodyPr/>
    <a:lstStyle/>
    <a:p>
      <a:pPr>
        <a:defRPr sz="1041"/>
      </a:pPr>
      <a:endParaRPr lang="it-IT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4628</cdr:x>
      <cdr:y>0.13722</cdr:y>
    </cdr:from>
    <cdr:to>
      <cdr:x>0.94628</cdr:x>
      <cdr:y>0.75422</cdr:y>
    </cdr:to>
    <cdr:sp macro="" textlink="">
      <cdr:nvSpPr>
        <cdr:cNvPr id="14" name="Straight Arrow Connector 13"/>
        <cdr:cNvSpPr/>
      </cdr:nvSpPr>
      <cdr:spPr bwMode="auto">
        <a:xfrm xmlns:a="http://schemas.openxmlformats.org/drawingml/2006/main" rot="5400000" flipH="1">
          <a:off x="6841595" y="1105524"/>
          <a:ext cx="1530351" cy="0"/>
        </a:xfrm>
        <a:prstGeom xmlns:a="http://schemas.openxmlformats.org/drawingml/2006/main" prst="straightConnector1">
          <a:avLst/>
        </a:prstGeom>
        <a:solidFill xmlns:a="http://schemas.openxmlformats.org/drawingml/2006/main">
          <a:schemeClr val="accent1"/>
        </a:solidFill>
        <a:ln xmlns:a="http://schemas.openxmlformats.org/drawingml/2006/main" w="12700" cap="flat" cmpd="sng" algn="ctr">
          <a:solidFill>
            <a:srgbClr val="001965"/>
          </a:solidFill>
          <a:prstDash val="solid"/>
          <a:round/>
          <a:headEnd type="none" w="med" len="med"/>
          <a:tailEnd type="arrow"/>
        </a:ln>
        <a:effectLst xmlns:a="http://schemas.openxmlformats.org/drawingml/2006/main"/>
      </cdr:spPr>
      <cdr:txBody>
        <a:bodyPr xmlns:a="http://schemas.openxmlformats.org/drawingml/2006/main" vertOverflow="clip" vert="horz" wrap="none" lIns="72000" tIns="72000" rIns="72000" bIns="7200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en-GB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5/09/2025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 note</a:t>
            </a:r>
          </a:p>
          <a:p>
            <a:pPr lvl="6"/>
            <a:r>
              <a:rPr lang="en-US" dirty="0"/>
              <a:t>7 level</a:t>
            </a:r>
          </a:p>
          <a:p>
            <a:pPr lvl="7"/>
            <a:r>
              <a:rPr lang="en-US" dirty="0"/>
              <a:t>8 level</a:t>
            </a:r>
          </a:p>
          <a:p>
            <a:pPr lvl="8"/>
            <a:r>
              <a:rPr lang="en-US" dirty="0"/>
              <a:t>9 header	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5/09/2025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09774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58816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sz="1800" b="0" i="0" u="none" strike="noStrike" baseline="0" dirty="0">
                <a:latin typeface="AdvTT6071803a.B"/>
              </a:rPr>
              <a:t>Aims: </a:t>
            </a:r>
            <a:r>
              <a:rPr lang="en-GB" sz="1800" b="0" i="0" u="none" strike="noStrike" baseline="0" dirty="0">
                <a:latin typeface="AdvTTa9c1b374"/>
              </a:rPr>
              <a:t>To determine the health outcomes associated with weight loss in individuals with obesity.</a:t>
            </a:r>
          </a:p>
          <a:p>
            <a:pPr algn="l"/>
            <a:r>
              <a:rPr lang="en-GB" sz="1800" b="0" i="0" u="none" strike="noStrike" baseline="0" dirty="0">
                <a:latin typeface="AdvTT6071803a.B"/>
              </a:rPr>
              <a:t>Materials and Methods: </a:t>
            </a:r>
            <a:r>
              <a:rPr lang="en-GB" sz="1800" b="0" i="0" u="none" strike="noStrike" baseline="0" dirty="0">
                <a:latin typeface="AdvTTa9c1b374"/>
              </a:rPr>
              <a:t>We conducted a case-control study using deidentified HER-derived information from </a:t>
            </a:r>
            <a:r>
              <a:rPr lang="en-GB" sz="1800" b="1" i="0" u="none" strike="noStrike" baseline="0" dirty="0">
                <a:latin typeface="AdvTTa9c1b374"/>
              </a:rPr>
              <a:t>204 921 patients </a:t>
            </a:r>
            <a:r>
              <a:rPr lang="en-GB" sz="1800" b="0" i="0" u="none" strike="noStrike" baseline="0" dirty="0">
                <a:latin typeface="AdvTTa9c1b374"/>
              </a:rPr>
              <a:t>seen at the Cleveland Clinic between 2000 and 2018. Patients were aged </a:t>
            </a:r>
            <a:r>
              <a:rPr lang="en-GB" sz="1800" b="0" i="0" u="none" strike="noStrike" baseline="0" dirty="0">
                <a:latin typeface="AdvTTa9c1b374+22"/>
              </a:rPr>
              <a:t>≥</a:t>
            </a:r>
            <a:r>
              <a:rPr lang="en-GB" sz="1800" b="0" i="0" u="none" strike="noStrike" baseline="0" dirty="0">
                <a:latin typeface="AdvTTa9c1b374"/>
              </a:rPr>
              <a:t>20 years with body mass index </a:t>
            </a:r>
            <a:r>
              <a:rPr lang="en-GB" sz="1800" b="1" i="0" u="none" strike="noStrike" baseline="0" dirty="0">
                <a:latin typeface="AdvTTa9c1b374+22"/>
              </a:rPr>
              <a:t>≥</a:t>
            </a:r>
            <a:r>
              <a:rPr lang="en-GB" sz="1800" b="1" i="0" u="none" strike="noStrike" baseline="0" dirty="0">
                <a:latin typeface="AdvTTa9c1b374"/>
              </a:rPr>
              <a:t>30 kg/m2</a:t>
            </a:r>
            <a:r>
              <a:rPr lang="en-GB" sz="1800" b="0" i="0" u="none" strike="noStrike" baseline="0" dirty="0">
                <a:latin typeface="AdvTTa9c1b374"/>
              </a:rPr>
              <a:t> and had </a:t>
            </a:r>
            <a:r>
              <a:rPr lang="en-GB" sz="1800" b="0" i="0" u="none" strike="noStrike" baseline="0" dirty="0">
                <a:latin typeface="AdvTTa9c1b374+22"/>
              </a:rPr>
              <a:t>≥</a:t>
            </a:r>
            <a:r>
              <a:rPr lang="en-GB" sz="1800" b="0" i="0" u="none" strike="noStrike" baseline="0" dirty="0">
                <a:latin typeface="AdvTTa9c1b374"/>
              </a:rPr>
              <a:t>7 weight measurements, over </a:t>
            </a:r>
            <a:r>
              <a:rPr lang="en-GB" sz="1800" b="0" i="0" u="none" strike="noStrike" baseline="0" dirty="0">
                <a:latin typeface="AdvTTa9c1b374+22"/>
              </a:rPr>
              <a:t>≥</a:t>
            </a:r>
            <a:r>
              <a:rPr lang="en-GB" sz="1800" b="0" i="0" u="none" strike="noStrike" baseline="0" dirty="0">
                <a:latin typeface="AdvTTa9c1b374"/>
              </a:rPr>
              <a:t>3 years. </a:t>
            </a:r>
            <a:r>
              <a:rPr lang="en-GB" sz="1800" b="1" i="0" u="none" strike="noStrike" baseline="0" dirty="0">
                <a:latin typeface="AdvTTa9c1b374"/>
              </a:rPr>
              <a:t>Thirty outcomes </a:t>
            </a:r>
            <a:r>
              <a:rPr lang="en-GB" sz="1800" b="0" i="0" u="none" strike="noStrike" baseline="0" dirty="0">
                <a:latin typeface="AdvTTa9c1b374"/>
              </a:rPr>
              <a:t>were investigated, including chronic and acute diseases, as well as psychological and metabolic disorders. </a:t>
            </a:r>
            <a:r>
              <a:rPr lang="en-GB" sz="1800" b="1" i="0" u="none" strike="noStrike" baseline="0" dirty="0">
                <a:latin typeface="AdvTTa9c1b374"/>
              </a:rPr>
              <a:t>Weight change </a:t>
            </a:r>
            <a:r>
              <a:rPr lang="en-GB" sz="1800" b="0" i="0" u="none" strike="noStrike" baseline="0" dirty="0">
                <a:latin typeface="AdvTTa9c1b374"/>
              </a:rPr>
              <a:t>was investigated </a:t>
            </a:r>
            <a:r>
              <a:rPr lang="en-GB" sz="1800" b="1" i="0" u="none" strike="noStrike" baseline="0" dirty="0">
                <a:latin typeface="AdvTTa9c1b374"/>
              </a:rPr>
              <a:t>3, 5 and 10 years </a:t>
            </a:r>
            <a:r>
              <a:rPr lang="en-GB" sz="1800" b="0" i="0" u="none" strike="noStrike" baseline="0" dirty="0">
                <a:latin typeface="AdvTTa9c1b374"/>
              </a:rPr>
              <a:t>prior to an event.</a:t>
            </a:r>
          </a:p>
          <a:p>
            <a:pPr algn="l"/>
            <a:endParaRPr lang="en-GB" sz="1800" b="0" i="0" u="none" strike="noStrike" baseline="0" dirty="0">
              <a:latin typeface="AdvTTa9c1b374"/>
            </a:endParaRPr>
          </a:p>
          <a:p>
            <a:pPr algn="l"/>
            <a:r>
              <a:rPr lang="en-GB" sz="1800" b="0" i="0" u="none" strike="noStrike" baseline="0" dirty="0">
                <a:latin typeface="AdvTTa9c1b374"/>
              </a:rPr>
              <a:t>The incidence of </a:t>
            </a:r>
            <a:r>
              <a:rPr lang="en-GB" sz="1800" b="1" i="0" u="none" strike="noStrike" baseline="0" dirty="0">
                <a:latin typeface="AdvTTa9c1b374"/>
              </a:rPr>
              <a:t>female reproductive </a:t>
            </a:r>
            <a:r>
              <a:rPr lang="en-GB" sz="1800" b="0" i="0" u="none" strike="noStrike" baseline="0" dirty="0">
                <a:latin typeface="AdvTTa9c1b374"/>
              </a:rPr>
              <a:t>and </a:t>
            </a:r>
            <a:r>
              <a:rPr lang="en-GB" sz="1800" b="1" i="0" u="none" strike="noStrike" baseline="0" dirty="0">
                <a:latin typeface="AdvTTa9c1b374"/>
              </a:rPr>
              <a:t>fertility</a:t>
            </a:r>
            <a:r>
              <a:rPr lang="en-GB" sz="1800" b="0" i="0" u="none" strike="noStrike" baseline="0" dirty="0">
                <a:latin typeface="AdvTTa9c1b374"/>
              </a:rPr>
              <a:t> </a:t>
            </a:r>
            <a:r>
              <a:rPr lang="en-GB" sz="1800" b="1" i="0" u="none" strike="noStrike" baseline="0" dirty="0">
                <a:latin typeface="AdvTTa9c1b374"/>
              </a:rPr>
              <a:t>effects</a:t>
            </a:r>
            <a:r>
              <a:rPr lang="en-GB" sz="1800" b="0" i="0" u="none" strike="noStrike" baseline="0" dirty="0">
                <a:latin typeface="AdvTTa9c1b374"/>
              </a:rPr>
              <a:t> were decreased with more substantial weight loss of </a:t>
            </a:r>
            <a:r>
              <a:rPr lang="en-GB" sz="1800" b="1" i="0" u="none" strike="noStrike" baseline="0" dirty="0">
                <a:latin typeface="AdvTTa9c1b374"/>
              </a:rPr>
              <a:t>5% to 9.9% </a:t>
            </a:r>
            <a:r>
              <a:rPr lang="en-GB" sz="1800" b="0" i="0" u="none" strike="noStrike" baseline="0" dirty="0">
                <a:latin typeface="AdvTTa9c1b374"/>
              </a:rPr>
              <a:t>and </a:t>
            </a:r>
            <a:r>
              <a:rPr lang="en-GB" sz="1800" b="1" i="0" u="none" strike="noStrike" baseline="0" dirty="0">
                <a:latin typeface="AdvTTa9c1b374"/>
              </a:rPr>
              <a:t>&gt;10% </a:t>
            </a:r>
            <a:r>
              <a:rPr lang="en-GB" sz="1800" b="0" i="0" u="none" strike="noStrike" baseline="0" dirty="0">
                <a:latin typeface="AdvTTa9c1b374"/>
              </a:rPr>
              <a:t>(P &lt; 0.05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5274C7-3C95-4AD2-8A35-8F8F3ED7272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685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9807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798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smtClean="0"/>
              <a:t>Due lavori</a:t>
            </a:r>
            <a:r>
              <a:rPr lang="it-IT" baseline="0" dirty="0" smtClean="0"/>
              <a:t> di </a:t>
            </a:r>
            <a:r>
              <a:rPr lang="it-IT" baseline="0" dirty="0" err="1" smtClean="0"/>
              <a:t>Review</a:t>
            </a:r>
            <a:r>
              <a:rPr lang="it-IT" baseline="0" dirty="0" smtClean="0"/>
              <a:t> e </a:t>
            </a:r>
            <a:r>
              <a:rPr lang="it-IT" baseline="0" dirty="0" err="1" smtClean="0"/>
              <a:t>metanalisi</a:t>
            </a:r>
            <a:r>
              <a:rPr lang="it-IT" baseline="0" dirty="0" smtClean="0"/>
              <a:t> comparsi in letteratura sono concordi nel concludere che la riduzione di peso nella donna infertile obesa aumenta significativamente la PR spontanea, tuttavia interventi a breve temine prima di tecniche di PMA sembra non migliorare </a:t>
            </a:r>
            <a:r>
              <a:rPr lang="it-IT" baseline="0" dirty="0" err="1" smtClean="0"/>
              <a:t>outcomes</a:t>
            </a:r>
            <a:r>
              <a:rPr lang="it-IT" baseline="0" dirty="0" smtClean="0"/>
              <a:t> di PMA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90390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983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None/>
            </a:pP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777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7DA8C-E60C-4537-A58D-6257D5F26AF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64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n-GB" dirty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F2438-B187-4235-9E71-FA038BA20FB5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5AD2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839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GB" dirty="0"/>
              <a:t>Stable up to the age of 30, with about 400 pregnancies for every 1,000 women (40%) not using contraception for one calendar year.</a:t>
            </a:r>
          </a:p>
          <a:p>
            <a:pPr>
              <a:defRPr/>
            </a:pPr>
            <a:r>
              <a:rPr lang="en-GB" dirty="0"/>
              <a:t>30-35% di </a:t>
            </a:r>
            <a:r>
              <a:rPr lang="en-GB" dirty="0" err="1"/>
              <a:t>gravidanze</a:t>
            </a:r>
            <a:r>
              <a:rPr lang="en-GB" dirty="0"/>
              <a:t> </a:t>
            </a:r>
            <a:r>
              <a:rPr lang="en-GB" dirty="0" err="1"/>
              <a:t>spontanee</a:t>
            </a:r>
            <a:r>
              <a:rPr lang="en-GB" dirty="0"/>
              <a:t> </a:t>
            </a:r>
            <a:r>
              <a:rPr lang="en-GB" dirty="0" err="1"/>
              <a:t>dai</a:t>
            </a:r>
            <a:r>
              <a:rPr lang="en-GB" dirty="0"/>
              <a:t> 35 ann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dirty="0"/>
              <a:t>&lt; 20 di </a:t>
            </a:r>
            <a:r>
              <a:rPr lang="en-GB" dirty="0" err="1"/>
              <a:t>gravidanze</a:t>
            </a:r>
            <a:r>
              <a:rPr lang="en-GB" dirty="0"/>
              <a:t> </a:t>
            </a:r>
            <a:r>
              <a:rPr lang="en-GB" dirty="0" err="1"/>
              <a:t>spontanee</a:t>
            </a:r>
            <a:r>
              <a:rPr lang="en-GB" dirty="0"/>
              <a:t> </a:t>
            </a:r>
            <a:r>
              <a:rPr lang="en-GB" dirty="0" err="1"/>
              <a:t>dai</a:t>
            </a:r>
            <a:r>
              <a:rPr lang="en-GB" dirty="0"/>
              <a:t> 40 anni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F2438-B187-4235-9E71-FA038BA20FB5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5AD2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40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CA" sz="8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5274C7-3C95-4AD2-8A35-8F8F3ED7272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685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709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a donna di 30 anni con un BMI di 30 ha un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ero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ociti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cuperate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i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llo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 una donna di 40 anni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rmopeso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sultati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ero di </a:t>
            </a:r>
            <a:r>
              <a:rPr lang="it-IT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cli IVF 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it-IT" sz="12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Vitro </a:t>
            </a:r>
            <a:r>
              <a:rPr lang="it-IT" sz="1200" b="0" i="1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rtilization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  <a:r>
              <a:rPr lang="it-IT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 esito nullo 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ificativamente più elevato nelle donne con obesità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ero di gravidanze in corso inferiore 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 le donne con obesità rispetto a quelle normopes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minuzione dell’HCG sierico 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sociata ad aumento del BMI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it-IT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it-IT" b="0" dirty="0"/>
              <a:t>Una meta-analisi (1) ha rivelato che la </a:t>
            </a:r>
            <a:r>
              <a:rPr lang="it-IT" b="1" dirty="0"/>
              <a:t>riserva ovarica </a:t>
            </a:r>
            <a:r>
              <a:rPr lang="it-IT" b="0" dirty="0"/>
              <a:t>è </a:t>
            </a:r>
            <a:r>
              <a:rPr lang="it-IT" b="1" dirty="0"/>
              <a:t>significativamente ridotta </a:t>
            </a:r>
            <a:r>
              <a:rPr lang="it-IT" b="0" dirty="0"/>
              <a:t>nelle </a:t>
            </a:r>
            <a:r>
              <a:rPr lang="it-IT" b="1" dirty="0"/>
              <a:t>donne obese</a:t>
            </a:r>
            <a:r>
              <a:rPr lang="it-IT" b="0" dirty="0"/>
              <a:t>, che quindi consumano molto più rapidamente gli ovociti (la donna nasce con qualche milione di ovociti a livello ovarico, che si esaurisce fino all’insorgere della menopausa)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it-IT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zanin. M. Is ovarian reserve associated with BMI and obesity in reproductive aged women? A meta-analysis. Menopause. 2018 25(9): 1046-1055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6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CA" sz="8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5274C7-3C95-4AD2-8A35-8F8F3ED7272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685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330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F2438-B187-4235-9E71-FA038BA20FB5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5AD2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074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1D45D42-854E-4C84-97D0-32BC92F0AC0A}"/>
              </a:ext>
            </a:extLst>
          </p:cNvPr>
          <p:cNvSpPr/>
          <p:nvPr userDrawn="1"/>
        </p:nvSpPr>
        <p:spPr>
          <a:xfrm>
            <a:off x="2" y="-44330"/>
            <a:ext cx="12191998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945D42C1-5D9C-4488-BF7A-233A8B4C7A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7177761D-1175-494C-82D3-0190C4B30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3954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9B268CC-DB2D-4A68-8657-B85B526D258B}"/>
              </a:ext>
            </a:extLst>
          </p:cNvPr>
          <p:cNvSpPr/>
          <p:nvPr userDrawn="1"/>
        </p:nvSpPr>
        <p:spPr>
          <a:xfrm>
            <a:off x="2" y="0"/>
            <a:ext cx="12202065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algn="ctr"/>
            <a:endParaRPr lang="en-GB" sz="1283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2629" y="3429060"/>
            <a:ext cx="3258979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5" name="Footer Placeholder 7">
            <a:extLst>
              <a:ext uri="{FF2B5EF4-FFF2-40B4-BE49-F238E27FC236}">
                <a16:creationId xmlns:a16="http://schemas.microsoft.com/office/drawing/2014/main" id="{E6977B30-2FF6-4FB9-B037-3196013979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6" name="Slide Number Placeholder 8">
            <a:extLst>
              <a:ext uri="{FF2B5EF4-FFF2-40B4-BE49-F238E27FC236}">
                <a16:creationId xmlns:a16="http://schemas.microsoft.com/office/drawing/2014/main" id="{733349C6-BDCC-4B55-B10D-C96D646FE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9728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547C1BA-0129-447F-AAC5-F3AAD8D9599B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EEE5BB8C-3249-41B2-94D8-2815F7F85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A1F8ACA8-A23F-49A4-BB78-079C486AD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2349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98C1FCE-9CC4-4F51-8F38-690B01C20B20}"/>
              </a:ext>
            </a:extLst>
          </p:cNvPr>
          <p:cNvSpPr/>
          <p:nvPr userDrawn="1"/>
        </p:nvSpPr>
        <p:spPr>
          <a:xfrm>
            <a:off x="2" y="0"/>
            <a:ext cx="12191998" cy="6858001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17209F4F-BB4A-49EB-A46F-9374F52F98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26D54DDB-261E-44FF-B4D0-45C0021D8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27447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7B5088E-8E8D-45E2-B607-49288F900A63}"/>
              </a:ext>
            </a:extLst>
          </p:cNvPr>
          <p:cNvSpPr/>
          <p:nvPr userDrawn="1"/>
        </p:nvSpPr>
        <p:spPr>
          <a:xfrm>
            <a:off x="2" y="0"/>
            <a:ext cx="12191998" cy="6858001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FCA557DD-2AAD-4828-A747-1FF146CBA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B428E336-C4DC-4178-BFE8-3E139C039D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6551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4BD48920-C97D-4E2C-A35C-593501FFA1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763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C4D6C171-7A36-4FCA-BE73-0EC7676F5B27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71190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119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9FAB9E8-5847-4D9A-89FB-61C26873B9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537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5A23169-A6B5-4FE3-98FF-BA1BE476C961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8A18D6DB-2DBB-48C7-A8A1-00B62FAF75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271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8BB2656-9C17-4E58-BD88-37CA74CEB40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AFEE2A84-0CF9-465D-9A9E-E32E360DF7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959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DAD6BB09-AE95-485E-84C0-574BBF3B1E75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7540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54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CB84F117-C4CD-4EDD-80DE-F4ABFF2EC9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63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89205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1C8F667-2919-4F82-AAFB-665CD3ED6C1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CB12C3D7-7FC8-4689-BE46-5FB5D1EC45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507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8809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8809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839D6835-A98F-415C-AB29-6E83B25AD0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998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015FA1D-A04C-406A-B4FB-658C12C42F6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71881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1881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590FB2D2-D9AA-4307-9D64-04A696610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524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55D4E67-3662-4369-BF55-28DAFDC0832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7555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555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6D3C3CE5-BCF3-4E33-888A-79D289FDE7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753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B25207C-ADAC-443C-AE4D-A6FEDB6451E3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9572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4885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C191654A-EE91-43A6-95B1-6FF56F97BA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6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0518F002-EFCD-4883-8EA7-E48C9C36DE3C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6125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125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513CADD7-7829-4CE8-83AD-ED3DB7D6B1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009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C8099CE7-FF39-4452-817B-498E2FDF0377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6521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521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90171A37-7695-4A8E-8B63-CCA53EACC2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605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2266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4BF4A68-07AF-466F-AEFB-CED35AF945B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229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C1F5544-4B5B-4706-A48D-789FEC5B1AC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772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771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8BC9B22F-937C-4B65-928A-E9C43F73C5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1123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3ED57F8A-BD88-4926-A8CD-345064B598FC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36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36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47151EC5-4919-4459-9ECC-446D9D2306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574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1720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E413F03-FBF4-49F7-8150-4C77E0F8036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02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021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781FE8F3-4A35-44AA-A2F0-4C29A1EA27C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016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156158A9-A089-46A0-B5EE-CCFE71F3FE88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6202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620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6CA0CB3-6B69-43E6-9847-8FDB46044D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3983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607215D-A8EF-4963-AB6B-2AD4A98FDD5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36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36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88625C66-F2EB-4BDE-8378-E2C777310DF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776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8871"/>
            <a:ext cx="5296873" cy="449014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8872"/>
            <a:ext cx="2478905" cy="4490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2C1FC102-104E-4EB5-9FB8-BA4C82C426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9278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83F46BC-7187-48FC-8F93-5CC840FEADAD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4980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4980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9B2B14CF-F9D7-488F-8020-E8911FEA92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77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E95F1F34-31C9-4FD8-B030-E76034100C83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7016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7017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BEF6CA03-737F-4C98-B988-92C0057C53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1195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6EA1244-500C-4837-8141-B092A1B6E9E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4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1AE4DD15-6F9F-4B14-B54D-53275EB3E3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4625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3C9699-33F2-4F43-A1DB-D5D4775ECF6B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4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03AE87E6-38D3-4901-8740-DD9BB8AE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10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02C4AA5-0C0F-4254-ABCA-E3AEC9A26F0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475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47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FF57540-3B72-4505-AE11-0EE4388A33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2670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843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842"/>
            <a:ext cx="2478905" cy="4502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AC3E503C-D407-4FF1-892F-E1D2B75AC1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132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57165FC-4A3E-4D33-A874-6E5B11A98074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2"/>
            <a:ext cx="2478905" cy="4502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F3F7FAE0-0109-4016-891A-DDC662B6C9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576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400095BD-238F-4353-8A3F-BF34FCDD6784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992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992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C3B62B4-3C20-4A81-AD98-F0833931D40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9518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C1DA8F5-07E0-43EA-ACA6-F62A1E06B65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E2A87039-A9FF-41E6-ACD7-34C644E3DA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096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C75301F0-4E0C-43B4-85C2-0D2B0BC00034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6370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371"/>
            <a:ext cx="2478905" cy="44885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F815EF0-8DD0-4546-BA8F-20293446F48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2578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4A2D315-96CD-4F63-B983-DAED8E2965BF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0FCCB1BF-F4AA-4C37-B6CD-BCD175FFE9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11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1512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151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151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724"/>
            <a:ext cx="5289999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724"/>
            <a:ext cx="2479934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4676"/>
            <a:ext cx="5296873" cy="443208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4675"/>
            <a:ext cx="2478905" cy="4458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724"/>
            <a:ext cx="2486020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351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28EB959-B3AB-4052-8E35-E093F16EA46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0042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004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004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72542"/>
            <a:ext cx="5296873" cy="434925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946"/>
            <a:ext cx="2478905" cy="4435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19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1BBEB793-95B3-44E2-843D-8AE2A1C3AE2E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55815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41964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0004"/>
            <a:ext cx="2478905" cy="437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62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7BA20F2A-89E9-460E-A57E-4E89B50E172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0081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008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008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35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8B25D0EF-EBAB-48F8-8DB6-22451543F2B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75266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75266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75266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07251"/>
            <a:ext cx="528999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0725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53995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3996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793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8FFF4D6-02AF-4EB3-9320-1AFBABD4B2D2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55815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7025"/>
            <a:ext cx="5296873" cy="443459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025"/>
            <a:ext cx="2478905" cy="438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414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5073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0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6B768AF4-68E6-4C73-8A7A-EBE41CB391E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1558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C48195E-B2C1-4EE1-A3A0-CB09BE96359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1927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1926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38E85F57-147A-47B6-89AF-060D09F8E7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65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632CB1A6-9B02-48DB-B225-2AE0B2047A98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3833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3833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CE9CEC7F-21BF-43A4-915E-887A328A0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009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3214EEF6-7ACE-4FA2-ABC6-BFEBC84EE94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4642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464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5241FD66-98E6-4A15-908A-BEC02BCF276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135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B0AA4B9-94A2-4D4D-97EC-FBDAE8E70966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1118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1118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8AF05853-550B-409D-8B65-56675A08854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4036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EB26EC9F-40DA-4745-A580-6E0C552D9CD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6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9CBB560E-047F-4EFA-A639-13F287A631C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9204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2934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3B72386-0F26-49AD-AB1D-ED480CB82E49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8" name="Footer Placeholder 7">
            <a:extLst>
              <a:ext uri="{FF2B5EF4-FFF2-40B4-BE49-F238E27FC236}">
                <a16:creationId xmlns:a16="http://schemas.microsoft.com/office/drawing/2014/main" id="{E912FF3C-2660-46E5-944E-6AEF0A08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28ECBD9-DF04-4B44-9E29-223339C1B88C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6569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B7825CC-20F0-42B3-941C-07B8704DDD4A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0" name="Footer Placeholder 7">
            <a:extLst>
              <a:ext uri="{FF2B5EF4-FFF2-40B4-BE49-F238E27FC236}">
                <a16:creationId xmlns:a16="http://schemas.microsoft.com/office/drawing/2014/main" id="{D5C3D42E-7C81-4116-9AF1-7671078EE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7B1E8F94-3C95-4AEC-8441-9D3E31CAC364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09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71A6ED3-3419-4171-9F26-3D283491D0BA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id="{9E4E57DC-61EF-417B-A2F4-490342A0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67CF500-0E28-44D2-A83E-562C4FB83C44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77461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B1D9604-C8CD-47CF-AD1C-9D4C7E74D60A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id="{61D575C7-05CF-42B9-AD3F-7342CA979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9AA01CCC-71E4-4904-861E-96880673514B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0930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4AB6739C-B06A-45CF-A821-79726E10B388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id="{9A4CE43A-0141-4EA3-B1FB-A05761F38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2ADB54F-4C2A-4D7B-A478-DFB6A2877D6B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9462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302554" y="2130429"/>
            <a:ext cx="6439505" cy="1470025"/>
          </a:xfrm>
        </p:spPr>
        <p:txBody>
          <a:bodyPr/>
          <a:lstStyle>
            <a:lvl1pPr algn="r">
              <a:defRPr sz="4263" smtClean="0">
                <a:ea typeface="ＭＳ Ｐゴシック" pitchFamily="-106" charset="-128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437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341271" y="3886231"/>
            <a:ext cx="6434639" cy="1752600"/>
          </a:xfrm>
        </p:spPr>
        <p:txBody>
          <a:bodyPr/>
          <a:lstStyle>
            <a:lvl1pPr marL="0" indent="0" algn="r">
              <a:buFontTx/>
              <a:buNone/>
              <a:defRPr smtClean="0">
                <a:ea typeface="ＭＳ Ｐゴシック" pitchFamily="-106" charset="-128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61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04592" y="1763763"/>
            <a:ext cx="7235917" cy="1522797"/>
          </a:xfrm>
        </p:spPr>
        <p:txBody>
          <a:bodyPr anchor="b"/>
          <a:lstStyle>
            <a:lvl1pPr algn="l">
              <a:lnSpc>
                <a:spcPct val="85000"/>
              </a:lnSpc>
              <a:defRPr sz="3197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602485" y="3366071"/>
            <a:ext cx="7237795" cy="166019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l">
              <a:buFontTx/>
              <a:buNone/>
              <a:defRPr sz="1865"/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E7A6806-46ED-4E82-9B19-5A8701E476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13439226"/>
      </p:ext>
    </p:extLst>
  </p:cSld>
  <p:clrMapOvr>
    <a:masterClrMapping/>
  </p:clrMapOvr>
  <p:transition spd="slow">
    <p:wip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4648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6616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794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514567"/>
            <a:ext cx="11347200" cy="17152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>
              <a:buFontTx/>
              <a:buNone/>
              <a:defRPr sz="1465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08A715F-FB62-479F-9BF9-1E2CDAF25A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836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32"/>
            <a:ext cx="11347200" cy="2663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/>
          <a:lstStyle>
            <a:lvl1pPr marL="0" indent="0" algn="l">
              <a:buFontTx/>
              <a:buNone/>
              <a:defRPr sz="1465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BD329CA-FB7F-4C7E-B413-784353322B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2573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02" y="687249"/>
            <a:ext cx="8923332" cy="5006607"/>
          </a:xfrm>
          <a:prstGeom prst="rect">
            <a:avLst/>
          </a:prstGeom>
        </p:spPr>
        <p:txBody>
          <a:bodyPr tIns="57599" anchor="t"/>
          <a:lstStyle>
            <a:lvl1pPr>
              <a:lnSpc>
                <a:spcPct val="90000"/>
              </a:lnSpc>
              <a:defRPr sz="7993" spc="-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F9A397C-CDB0-4028-9029-480CBE7F6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9913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54624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A18F9B-7B27-4050-9B78-B356333C0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4746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53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27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96F561A-61A1-4921-9CC1-9677D362A6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4854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9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E806115-BD0B-45BB-A0D4-4FD38DF4AF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977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422408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3362457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6302523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9251973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60B6413-5E5C-4962-A709-F5D3123A02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5772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307200" y="1749653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422401" y="1749653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6306016" y="3831330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421217" y="3831330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37EF225-77AD-4C47-9270-DAE3D66AEC2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5947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422401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4347169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8271933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422401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4347169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8271933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9C50808-7710-478D-9C7D-461A7C1DFD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3714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C993EE0-288F-4DA1-9D62-3E186A5E24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5362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0"/>
            <a:ext cx="12192000" cy="3531909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422400" y="3831327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5DB77C2-5635-41FF-8EEF-0A5F7E36AC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9573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749633"/>
            <a:ext cx="12192000" cy="3941051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42FA9A6-26AD-44DD-AA90-DB70862ED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2046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6088520" cy="6858000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97932" y="687229"/>
            <a:ext cx="5271673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497932" y="1749651"/>
            <a:ext cx="5271673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399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2131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8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599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65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928" y="138544"/>
            <a:ext cx="2933165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07B0F50-C4D3-4D82-B45F-3C2E112441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9721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2400" y="1749633"/>
            <a:ext cx="11347200" cy="3941051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906B41C-32C7-4B0B-AD2B-627AE70DFF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422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08548" y="1749633"/>
            <a:ext cx="5458357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54624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F422059-6901-41DE-A02F-D6A5E8166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8887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425098" y="1749651"/>
            <a:ext cx="7419508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8269706" y="1749633"/>
            <a:ext cx="3499903" cy="3941051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1E48AFD-11C4-4FB5-90EE-C9A23F28FF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3822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425098" y="1749651"/>
            <a:ext cx="8411849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5633C67-5B50-4AED-BA67-E9934BBE8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387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425104" y="1749651"/>
            <a:ext cx="5466201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303E9E-DBF3-4F76-BFFF-C91D7AA6E2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4671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336244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22400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430997-53FE-4A1A-A846-5A08802D04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3249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425099" y="1749651"/>
            <a:ext cx="3898204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4770833" y="1746591"/>
            <a:ext cx="7011760" cy="3944113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16/9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9076596-F456-4BE4-9005-7D871C52D0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3603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6522052" y="1746591"/>
            <a:ext cx="5260541" cy="3944113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4/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425096" y="1749651"/>
            <a:ext cx="5668789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BA013E-F680-4525-9075-C9392DA73F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804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22"/>
            <a:ext cx="12192000" cy="6857999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16:9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22400" y="412075"/>
            <a:ext cx="11347200" cy="5278631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5911" tIns="95911" rIns="95911" bIns="95911" numCol="1" rtlCol="0" anchor="ctr" anchorCtr="0" compatLnSpc="1">
            <a:prstTxWarp prst="textNoShape">
              <a:avLst/>
            </a:prstTxWarp>
          </a:bodyPr>
          <a:lstStyle/>
          <a:p>
            <a:pPr algn="ctr" defTabSz="1624014">
              <a:spcBef>
                <a:spcPct val="50000"/>
              </a:spcBef>
            </a:pPr>
            <a:endParaRPr lang="en-GB" sz="3197" dirty="0">
              <a:solidFill>
                <a:srgbClr val="001965"/>
              </a:solidFill>
              <a:latin typeface="Verdana"/>
              <a:cs typeface="+mn-cs"/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425097" y="769746"/>
            <a:ext cx="11357499" cy="521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sz="3197" dirty="0"/>
              <a:t>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665080" y="3366050"/>
            <a:ext cx="4844499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algn="ctr"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25098" y="1749632"/>
            <a:ext cx="11357500" cy="49219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defTabSz="1218012" fontAlgn="auto">
              <a:spcBef>
                <a:spcPts val="0"/>
              </a:spcBef>
              <a:spcAft>
                <a:spcPts val="0"/>
              </a:spcAft>
            </a:pPr>
            <a:endParaRPr lang="en-GB" sz="2399" b="0" dirty="0">
              <a:solidFill>
                <a:srgbClr val="001965"/>
              </a:solidFill>
              <a:latin typeface="Verdan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422406" y="1749651"/>
            <a:ext cx="11347201" cy="3941052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59482" indent="-359482" defTabSz="1624014">
              <a:spcBef>
                <a:spcPct val="50000"/>
              </a:spcBef>
              <a:buClr>
                <a:srgbClr val="009FDA"/>
              </a:buClr>
              <a:buFont typeface="Arial" pitchFamily="34" charset="0"/>
              <a:buChar char="•"/>
            </a:pPr>
            <a:r>
              <a:rPr lang="en-GB" sz="2399" b="0" dirty="0">
                <a:solidFill>
                  <a:srgbClr val="001965"/>
                </a:solidFill>
                <a:latin typeface="Verdana"/>
                <a:cs typeface="+mn-cs"/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422401" y="1285948"/>
            <a:ext cx="6096011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Keep all titles, </a:t>
            </a:r>
            <a:r>
              <a:rPr lang="en-GB" sz="1599" b="0" dirty="0" err="1">
                <a:solidFill>
                  <a:srgbClr val="E64A0E"/>
                </a:solidFill>
                <a:latin typeface="Verdana"/>
                <a:cs typeface="+mn-cs"/>
              </a:rPr>
              <a:t>trompets</a:t>
            </a: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559752" y="439676"/>
            <a:ext cx="5212253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algn="r"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>
                <a:solidFill>
                  <a:srgbClr val="E64A0E"/>
                </a:solidFill>
                <a:latin typeface="Verdana"/>
                <a:cs typeface="+mn-cs"/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26959C9-25E9-4B6D-80F5-3FD6FB9708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4419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63941-CE9C-4BBF-BB4C-C4FCB7C79F24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2BECCC-7FA3-4EA5-B875-825EB84B07D4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85473"/>
      </p:ext>
    </p:extLst>
  </p:cSld>
  <p:clrMapOvr>
    <a:masterClrMapping/>
  </p:clrMapOvr>
  <p:transition>
    <p:strips dir="rd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96281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941233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974329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229591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em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oup 199">
            <a:extLst>
              <a:ext uri="{FF2B5EF4-FFF2-40B4-BE49-F238E27FC236}">
                <a16:creationId xmlns:a16="http://schemas.microsoft.com/office/drawing/2014/main" id="{205CDF6F-2ADC-48D6-AC02-A4CA37C721CF}"/>
              </a:ext>
            </a:extLst>
          </p:cNvPr>
          <p:cNvGrpSpPr/>
          <p:nvPr userDrawn="1"/>
        </p:nvGrpSpPr>
        <p:grpSpPr>
          <a:xfrm>
            <a:off x="-12697" y="-2481"/>
            <a:ext cx="12204697" cy="5603480"/>
            <a:chOff x="-9523" y="-1861"/>
            <a:chExt cx="9153523" cy="4202610"/>
          </a:xfrm>
        </p:grpSpPr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BE5A0D24-1E00-4A53-A361-E06BF4A5A2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" b="38"/>
            <a:stretch/>
          </p:blipFill>
          <p:spPr>
            <a:xfrm>
              <a:off x="-9523" y="-1861"/>
              <a:ext cx="9153523" cy="4178075"/>
            </a:xfrm>
            <a:prstGeom prst="rect">
              <a:avLst/>
            </a:prstGeom>
          </p:spPr>
        </p:pic>
        <p:pic>
          <p:nvPicPr>
            <p:cNvPr id="202" name="Picture 201">
              <a:extLst>
                <a:ext uri="{FF2B5EF4-FFF2-40B4-BE49-F238E27FC236}">
                  <a16:creationId xmlns:a16="http://schemas.microsoft.com/office/drawing/2014/main" id="{C2B8021B-8BCD-4E2A-96B3-2DE01FFA0B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8862" y="841628"/>
              <a:ext cx="2807879" cy="2320799"/>
            </a:xfrm>
            <a:prstGeom prst="rect">
              <a:avLst/>
            </a:prstGeom>
            <a:effectLst>
              <a:glow rad="228600">
                <a:srgbClr val="FFFFFF"/>
              </a:glow>
            </a:effectLst>
          </p:spPr>
        </p:pic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66E221BC-12BA-44DC-8968-67717CEDA60A}"/>
                </a:ext>
              </a:extLst>
            </p:cNvPr>
            <p:cNvGrpSpPr/>
            <p:nvPr userDrawn="1"/>
          </p:nvGrpSpPr>
          <p:grpSpPr>
            <a:xfrm>
              <a:off x="4519433" y="3221494"/>
              <a:ext cx="721220" cy="555175"/>
              <a:chOff x="5343975" y="4058097"/>
              <a:chExt cx="1102766" cy="848878"/>
            </a:xfrm>
            <a:solidFill>
              <a:srgbClr val="FFFFFF"/>
            </a:solidFill>
          </p:grpSpPr>
          <p:sp>
            <p:nvSpPr>
              <p:cNvPr id="358" name="Freeform 179">
                <a:extLst>
                  <a:ext uri="{FF2B5EF4-FFF2-40B4-BE49-F238E27FC236}">
                    <a16:creationId xmlns:a16="http://schemas.microsoft.com/office/drawing/2014/main" id="{0DD8BCE8-6D0C-4AA2-8CCE-B8848EF69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9" name="Freeform 180">
                <a:extLst>
                  <a:ext uri="{FF2B5EF4-FFF2-40B4-BE49-F238E27FC236}">
                    <a16:creationId xmlns:a16="http://schemas.microsoft.com/office/drawing/2014/main" id="{28563B2E-E192-467E-A5F0-C4E72EEE3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0" name="Freeform 181">
                <a:extLst>
                  <a:ext uri="{FF2B5EF4-FFF2-40B4-BE49-F238E27FC236}">
                    <a16:creationId xmlns:a16="http://schemas.microsoft.com/office/drawing/2014/main" id="{037E6DCF-651C-4E3A-86C1-0D06E8CA4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1" name="Freeform 182">
                <a:extLst>
                  <a:ext uri="{FF2B5EF4-FFF2-40B4-BE49-F238E27FC236}">
                    <a16:creationId xmlns:a16="http://schemas.microsoft.com/office/drawing/2014/main" id="{7CE49889-797A-49DB-8C2B-71425B593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2" name="Freeform 183">
                <a:extLst>
                  <a:ext uri="{FF2B5EF4-FFF2-40B4-BE49-F238E27FC236}">
                    <a16:creationId xmlns:a16="http://schemas.microsoft.com/office/drawing/2014/main" id="{260B3637-984A-4EA3-A36E-6AF44ECF9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3" name="Freeform 184">
                <a:extLst>
                  <a:ext uri="{FF2B5EF4-FFF2-40B4-BE49-F238E27FC236}">
                    <a16:creationId xmlns:a16="http://schemas.microsoft.com/office/drawing/2014/main" id="{6DC13DBA-22BF-43B8-95D8-33E4BA2C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4" name="Freeform 185">
                <a:extLst>
                  <a:ext uri="{FF2B5EF4-FFF2-40B4-BE49-F238E27FC236}">
                    <a16:creationId xmlns:a16="http://schemas.microsoft.com/office/drawing/2014/main" id="{46EC7B5F-AD38-4FF9-A502-E2EE5B9CB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5" name="Freeform 186">
                <a:extLst>
                  <a:ext uri="{FF2B5EF4-FFF2-40B4-BE49-F238E27FC236}">
                    <a16:creationId xmlns:a16="http://schemas.microsoft.com/office/drawing/2014/main" id="{66AC351E-67AA-4241-BA8A-81B35184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6" name="Freeform 187">
                <a:extLst>
                  <a:ext uri="{FF2B5EF4-FFF2-40B4-BE49-F238E27FC236}">
                    <a16:creationId xmlns:a16="http://schemas.microsoft.com/office/drawing/2014/main" id="{07011B3A-9CAE-4C8F-836B-7976EC427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7" name="Freeform 188">
                <a:extLst>
                  <a:ext uri="{FF2B5EF4-FFF2-40B4-BE49-F238E27FC236}">
                    <a16:creationId xmlns:a16="http://schemas.microsoft.com/office/drawing/2014/main" id="{C48C343C-D0E8-4542-BF25-A60A5531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8" name="Freeform 189">
                <a:extLst>
                  <a:ext uri="{FF2B5EF4-FFF2-40B4-BE49-F238E27FC236}">
                    <a16:creationId xmlns:a16="http://schemas.microsoft.com/office/drawing/2014/main" id="{3B3A52E4-ABAB-421E-A786-2BE375DE5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9" name="Freeform 190">
                <a:extLst>
                  <a:ext uri="{FF2B5EF4-FFF2-40B4-BE49-F238E27FC236}">
                    <a16:creationId xmlns:a16="http://schemas.microsoft.com/office/drawing/2014/main" id="{413CAB41-D788-424C-9E7A-53B2DB86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0" name="Freeform 191">
                <a:extLst>
                  <a:ext uri="{FF2B5EF4-FFF2-40B4-BE49-F238E27FC236}">
                    <a16:creationId xmlns:a16="http://schemas.microsoft.com/office/drawing/2014/main" id="{3C20290A-83EF-44AC-9356-BB2D1A3F1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1" name="Freeform 192">
                <a:extLst>
                  <a:ext uri="{FF2B5EF4-FFF2-40B4-BE49-F238E27FC236}">
                    <a16:creationId xmlns:a16="http://schemas.microsoft.com/office/drawing/2014/main" id="{B79A57E3-2AFC-4AA1-A133-DD2C03BCD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2" name="Freeform 193">
                <a:extLst>
                  <a:ext uri="{FF2B5EF4-FFF2-40B4-BE49-F238E27FC236}">
                    <a16:creationId xmlns:a16="http://schemas.microsoft.com/office/drawing/2014/main" id="{DE819656-3E6A-4E0F-B665-562DA731C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3" name="Freeform 194">
                <a:extLst>
                  <a:ext uri="{FF2B5EF4-FFF2-40B4-BE49-F238E27FC236}">
                    <a16:creationId xmlns:a16="http://schemas.microsoft.com/office/drawing/2014/main" id="{E0D08782-5006-41D5-BC1B-BD0168DCE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4" name="Freeform 195">
                <a:extLst>
                  <a:ext uri="{FF2B5EF4-FFF2-40B4-BE49-F238E27FC236}">
                    <a16:creationId xmlns:a16="http://schemas.microsoft.com/office/drawing/2014/main" id="{275CF134-8F74-4F96-98AF-139509FA2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5" name="Freeform 196">
                <a:extLst>
                  <a:ext uri="{FF2B5EF4-FFF2-40B4-BE49-F238E27FC236}">
                    <a16:creationId xmlns:a16="http://schemas.microsoft.com/office/drawing/2014/main" id="{147B8036-0219-49D1-9D2B-796ABFC67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6" name="Freeform 197">
                <a:extLst>
                  <a:ext uri="{FF2B5EF4-FFF2-40B4-BE49-F238E27FC236}">
                    <a16:creationId xmlns:a16="http://schemas.microsoft.com/office/drawing/2014/main" id="{19C65CA1-779C-4783-9DA8-B5DD27F26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7" name="Freeform 198">
                <a:extLst>
                  <a:ext uri="{FF2B5EF4-FFF2-40B4-BE49-F238E27FC236}">
                    <a16:creationId xmlns:a16="http://schemas.microsoft.com/office/drawing/2014/main" id="{72312AE6-8B12-441A-9968-8459502F7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8" name="Freeform 199">
                <a:extLst>
                  <a:ext uri="{FF2B5EF4-FFF2-40B4-BE49-F238E27FC236}">
                    <a16:creationId xmlns:a16="http://schemas.microsoft.com/office/drawing/2014/main" id="{B62658C9-D981-4E0A-B567-D22E27778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9" name="Freeform 200">
                <a:extLst>
                  <a:ext uri="{FF2B5EF4-FFF2-40B4-BE49-F238E27FC236}">
                    <a16:creationId xmlns:a16="http://schemas.microsoft.com/office/drawing/2014/main" id="{7D391CD3-C5F4-4919-9DAE-B1654A497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0" name="Freeform 201">
                <a:extLst>
                  <a:ext uri="{FF2B5EF4-FFF2-40B4-BE49-F238E27FC236}">
                    <a16:creationId xmlns:a16="http://schemas.microsoft.com/office/drawing/2014/main" id="{676A7B10-6F21-41CA-88EC-ED9423E7AB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1" name="Freeform 202">
                <a:extLst>
                  <a:ext uri="{FF2B5EF4-FFF2-40B4-BE49-F238E27FC236}">
                    <a16:creationId xmlns:a16="http://schemas.microsoft.com/office/drawing/2014/main" id="{AC3281B3-4911-4EED-8F3F-BB7C8B6E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2" name="Freeform 203">
                <a:extLst>
                  <a:ext uri="{FF2B5EF4-FFF2-40B4-BE49-F238E27FC236}">
                    <a16:creationId xmlns:a16="http://schemas.microsoft.com/office/drawing/2014/main" id="{A976F93E-7F98-4FBD-86FE-94AA92581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3" name="Freeform 204">
                <a:extLst>
                  <a:ext uri="{FF2B5EF4-FFF2-40B4-BE49-F238E27FC236}">
                    <a16:creationId xmlns:a16="http://schemas.microsoft.com/office/drawing/2014/main" id="{1580D61C-C0FD-4937-A8FA-432989E6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4" name="Freeform 206">
                <a:extLst>
                  <a:ext uri="{FF2B5EF4-FFF2-40B4-BE49-F238E27FC236}">
                    <a16:creationId xmlns:a16="http://schemas.microsoft.com/office/drawing/2014/main" id="{254DDD62-2CAB-48EA-9EB5-56AE281A6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5" name="Freeform 207">
                <a:extLst>
                  <a:ext uri="{FF2B5EF4-FFF2-40B4-BE49-F238E27FC236}">
                    <a16:creationId xmlns:a16="http://schemas.microsoft.com/office/drawing/2014/main" id="{130487DF-308B-4478-AF8B-43F5BF42F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6" name="Freeform 208">
                <a:extLst>
                  <a:ext uri="{FF2B5EF4-FFF2-40B4-BE49-F238E27FC236}">
                    <a16:creationId xmlns:a16="http://schemas.microsoft.com/office/drawing/2014/main" id="{84E95565-4662-427C-8B8C-BEDAA360C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3F5A8F9E-A8E6-4522-B200-E3F525031977}"/>
                </a:ext>
              </a:extLst>
            </p:cNvPr>
            <p:cNvGrpSpPr/>
            <p:nvPr userDrawn="1"/>
          </p:nvGrpSpPr>
          <p:grpSpPr>
            <a:xfrm>
              <a:off x="4158491" y="49664"/>
              <a:ext cx="640155" cy="492774"/>
              <a:chOff x="5343975" y="4058097"/>
              <a:chExt cx="1102766" cy="848878"/>
            </a:xfrm>
            <a:solidFill>
              <a:srgbClr val="FFFFFF">
                <a:alpha val="26000"/>
              </a:srgbClr>
            </a:solidFill>
          </p:grpSpPr>
          <p:sp>
            <p:nvSpPr>
              <p:cNvPr id="329" name="Freeform 179">
                <a:extLst>
                  <a:ext uri="{FF2B5EF4-FFF2-40B4-BE49-F238E27FC236}">
                    <a16:creationId xmlns:a16="http://schemas.microsoft.com/office/drawing/2014/main" id="{C2C05BBF-6048-416D-8BC8-37703A1F9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0" name="Freeform 180">
                <a:extLst>
                  <a:ext uri="{FF2B5EF4-FFF2-40B4-BE49-F238E27FC236}">
                    <a16:creationId xmlns:a16="http://schemas.microsoft.com/office/drawing/2014/main" id="{5CCFF21D-9DFD-4771-97EB-24FE5AFE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1" name="Freeform 181">
                <a:extLst>
                  <a:ext uri="{FF2B5EF4-FFF2-40B4-BE49-F238E27FC236}">
                    <a16:creationId xmlns:a16="http://schemas.microsoft.com/office/drawing/2014/main" id="{3E9AE88C-48E5-450A-88DD-3C7C7847F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2" name="Freeform 182">
                <a:extLst>
                  <a:ext uri="{FF2B5EF4-FFF2-40B4-BE49-F238E27FC236}">
                    <a16:creationId xmlns:a16="http://schemas.microsoft.com/office/drawing/2014/main" id="{566EBD64-7A71-4B43-9A3A-F8FC814E1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3" name="Freeform 183">
                <a:extLst>
                  <a:ext uri="{FF2B5EF4-FFF2-40B4-BE49-F238E27FC236}">
                    <a16:creationId xmlns:a16="http://schemas.microsoft.com/office/drawing/2014/main" id="{D17E9053-5ABD-4D36-AA98-CA4B29347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4" name="Freeform 184">
                <a:extLst>
                  <a:ext uri="{FF2B5EF4-FFF2-40B4-BE49-F238E27FC236}">
                    <a16:creationId xmlns:a16="http://schemas.microsoft.com/office/drawing/2014/main" id="{02815817-CC9A-498F-AE4B-AFCCFC044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5" name="Freeform 185">
                <a:extLst>
                  <a:ext uri="{FF2B5EF4-FFF2-40B4-BE49-F238E27FC236}">
                    <a16:creationId xmlns:a16="http://schemas.microsoft.com/office/drawing/2014/main" id="{ACEC8D9E-85FD-45A7-8B7E-234E39C3F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6" name="Freeform 186">
                <a:extLst>
                  <a:ext uri="{FF2B5EF4-FFF2-40B4-BE49-F238E27FC236}">
                    <a16:creationId xmlns:a16="http://schemas.microsoft.com/office/drawing/2014/main" id="{EACFFB87-2225-49FC-9F2B-08AF52C48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7" name="Freeform 187">
                <a:extLst>
                  <a:ext uri="{FF2B5EF4-FFF2-40B4-BE49-F238E27FC236}">
                    <a16:creationId xmlns:a16="http://schemas.microsoft.com/office/drawing/2014/main" id="{C9459BEA-60FD-4DE3-B964-FC8B11B9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8" name="Freeform 188">
                <a:extLst>
                  <a:ext uri="{FF2B5EF4-FFF2-40B4-BE49-F238E27FC236}">
                    <a16:creationId xmlns:a16="http://schemas.microsoft.com/office/drawing/2014/main" id="{EA7FECEC-EAF7-447E-AA2B-D2BDB3084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9" name="Freeform 189">
                <a:extLst>
                  <a:ext uri="{FF2B5EF4-FFF2-40B4-BE49-F238E27FC236}">
                    <a16:creationId xmlns:a16="http://schemas.microsoft.com/office/drawing/2014/main" id="{F9B98DD7-EA0A-4DE3-A7AA-9CD9EBEA8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0" name="Freeform 190">
                <a:extLst>
                  <a:ext uri="{FF2B5EF4-FFF2-40B4-BE49-F238E27FC236}">
                    <a16:creationId xmlns:a16="http://schemas.microsoft.com/office/drawing/2014/main" id="{B0980F86-5BED-4B71-8A80-DC0DC87AF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1" name="Freeform 191">
                <a:extLst>
                  <a:ext uri="{FF2B5EF4-FFF2-40B4-BE49-F238E27FC236}">
                    <a16:creationId xmlns:a16="http://schemas.microsoft.com/office/drawing/2014/main" id="{D89D0555-4248-404A-BAAD-2AED415C0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2" name="Freeform 192">
                <a:extLst>
                  <a:ext uri="{FF2B5EF4-FFF2-40B4-BE49-F238E27FC236}">
                    <a16:creationId xmlns:a16="http://schemas.microsoft.com/office/drawing/2014/main" id="{94EFFB06-1CAE-4D1E-BFDF-092993070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3" name="Freeform 193">
                <a:extLst>
                  <a:ext uri="{FF2B5EF4-FFF2-40B4-BE49-F238E27FC236}">
                    <a16:creationId xmlns:a16="http://schemas.microsoft.com/office/drawing/2014/main" id="{B3C8CC02-1201-416B-911D-B6F3E697C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4" name="Freeform 194">
                <a:extLst>
                  <a:ext uri="{FF2B5EF4-FFF2-40B4-BE49-F238E27FC236}">
                    <a16:creationId xmlns:a16="http://schemas.microsoft.com/office/drawing/2014/main" id="{CC77B92A-E89C-419F-AF16-D68596E87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5" name="Freeform 195">
                <a:extLst>
                  <a:ext uri="{FF2B5EF4-FFF2-40B4-BE49-F238E27FC236}">
                    <a16:creationId xmlns:a16="http://schemas.microsoft.com/office/drawing/2014/main" id="{FECA5A4A-51CC-40F1-8549-F0DAB6AFB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6" name="Freeform 196">
                <a:extLst>
                  <a:ext uri="{FF2B5EF4-FFF2-40B4-BE49-F238E27FC236}">
                    <a16:creationId xmlns:a16="http://schemas.microsoft.com/office/drawing/2014/main" id="{E3C01515-CA64-4D37-8CAA-AA6915CD2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7" name="Freeform 197">
                <a:extLst>
                  <a:ext uri="{FF2B5EF4-FFF2-40B4-BE49-F238E27FC236}">
                    <a16:creationId xmlns:a16="http://schemas.microsoft.com/office/drawing/2014/main" id="{49811822-FFF8-46AB-B50B-66B422D44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8" name="Freeform 198">
                <a:extLst>
                  <a:ext uri="{FF2B5EF4-FFF2-40B4-BE49-F238E27FC236}">
                    <a16:creationId xmlns:a16="http://schemas.microsoft.com/office/drawing/2014/main" id="{70A1C37D-40B8-4EA4-894F-84F0C2A01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9" name="Freeform 199">
                <a:extLst>
                  <a:ext uri="{FF2B5EF4-FFF2-40B4-BE49-F238E27FC236}">
                    <a16:creationId xmlns:a16="http://schemas.microsoft.com/office/drawing/2014/main" id="{C2098D39-55F4-4E1A-934C-E43E3F01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0" name="Freeform 200">
                <a:extLst>
                  <a:ext uri="{FF2B5EF4-FFF2-40B4-BE49-F238E27FC236}">
                    <a16:creationId xmlns:a16="http://schemas.microsoft.com/office/drawing/2014/main" id="{A8E34F5A-F362-4C08-A4C7-201295BE7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1" name="Freeform 201">
                <a:extLst>
                  <a:ext uri="{FF2B5EF4-FFF2-40B4-BE49-F238E27FC236}">
                    <a16:creationId xmlns:a16="http://schemas.microsoft.com/office/drawing/2014/main" id="{26F523F1-DE15-453D-91ED-6770A19D5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2" name="Freeform 202">
                <a:extLst>
                  <a:ext uri="{FF2B5EF4-FFF2-40B4-BE49-F238E27FC236}">
                    <a16:creationId xmlns:a16="http://schemas.microsoft.com/office/drawing/2014/main" id="{3B622776-B143-4D7B-8133-3B1A2B3E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3" name="Freeform 203">
                <a:extLst>
                  <a:ext uri="{FF2B5EF4-FFF2-40B4-BE49-F238E27FC236}">
                    <a16:creationId xmlns:a16="http://schemas.microsoft.com/office/drawing/2014/main" id="{D09B8233-B62B-4CE4-A5A6-DA31D11F7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4" name="Freeform 204">
                <a:extLst>
                  <a:ext uri="{FF2B5EF4-FFF2-40B4-BE49-F238E27FC236}">
                    <a16:creationId xmlns:a16="http://schemas.microsoft.com/office/drawing/2014/main" id="{C664B4D2-5E06-42AD-A78B-24960AB0C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5" name="Freeform 206">
                <a:extLst>
                  <a:ext uri="{FF2B5EF4-FFF2-40B4-BE49-F238E27FC236}">
                    <a16:creationId xmlns:a16="http://schemas.microsoft.com/office/drawing/2014/main" id="{E2FC8ABA-4467-4010-A824-1CCC5A437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6" name="Freeform 207">
                <a:extLst>
                  <a:ext uri="{FF2B5EF4-FFF2-40B4-BE49-F238E27FC236}">
                    <a16:creationId xmlns:a16="http://schemas.microsoft.com/office/drawing/2014/main" id="{D4F759FB-7078-4FAB-B6D2-FC7CD87D9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7" name="Freeform 208">
                <a:extLst>
                  <a:ext uri="{FF2B5EF4-FFF2-40B4-BE49-F238E27FC236}">
                    <a16:creationId xmlns:a16="http://schemas.microsoft.com/office/drawing/2014/main" id="{E4ED3796-8490-41E3-ADF5-402DBDBA6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452B9F3B-1E77-430F-833E-E3E3A2EBF10F}"/>
                </a:ext>
              </a:extLst>
            </p:cNvPr>
            <p:cNvGrpSpPr/>
            <p:nvPr userDrawn="1"/>
          </p:nvGrpSpPr>
          <p:grpSpPr>
            <a:xfrm>
              <a:off x="7354923" y="3729924"/>
              <a:ext cx="311633" cy="438363"/>
              <a:chOff x="2370963" y="2220799"/>
              <a:chExt cx="581424" cy="817868"/>
            </a:xfrm>
            <a:solidFill>
              <a:srgbClr val="FFFFFF"/>
            </a:solidFill>
          </p:grpSpPr>
          <p:sp>
            <p:nvSpPr>
              <p:cNvPr id="320" name="Rectangle 58">
                <a:extLst>
                  <a:ext uri="{FF2B5EF4-FFF2-40B4-BE49-F238E27FC236}">
                    <a16:creationId xmlns:a16="http://schemas.microsoft.com/office/drawing/2014/main" id="{8C7E3443-145F-4BBF-9D84-FB62C4549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1" name="Freeform 59">
                <a:extLst>
                  <a:ext uri="{FF2B5EF4-FFF2-40B4-BE49-F238E27FC236}">
                    <a16:creationId xmlns:a16="http://schemas.microsoft.com/office/drawing/2014/main" id="{8F4C86E4-9217-46D2-8F0D-563C4C53D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2" name="Freeform 60">
                <a:extLst>
                  <a:ext uri="{FF2B5EF4-FFF2-40B4-BE49-F238E27FC236}">
                    <a16:creationId xmlns:a16="http://schemas.microsoft.com/office/drawing/2014/main" id="{8A043486-F578-4381-A03B-270441791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3" name="Freeform 61">
                <a:extLst>
                  <a:ext uri="{FF2B5EF4-FFF2-40B4-BE49-F238E27FC236}">
                    <a16:creationId xmlns:a16="http://schemas.microsoft.com/office/drawing/2014/main" id="{DB126426-D577-464D-8294-302D9205E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4" name="Freeform 62">
                <a:extLst>
                  <a:ext uri="{FF2B5EF4-FFF2-40B4-BE49-F238E27FC236}">
                    <a16:creationId xmlns:a16="http://schemas.microsoft.com/office/drawing/2014/main" id="{06AACD2D-790D-4C3F-AD7A-1373DBF0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5" name="Freeform 63">
                <a:extLst>
                  <a:ext uri="{FF2B5EF4-FFF2-40B4-BE49-F238E27FC236}">
                    <a16:creationId xmlns:a16="http://schemas.microsoft.com/office/drawing/2014/main" id="{E1DF3A7E-282D-4404-A752-97CE6CAD0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6" name="Freeform 64">
                <a:extLst>
                  <a:ext uri="{FF2B5EF4-FFF2-40B4-BE49-F238E27FC236}">
                    <a16:creationId xmlns:a16="http://schemas.microsoft.com/office/drawing/2014/main" id="{FD4C4619-891E-48E0-B13E-48010789A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7" name="Freeform 65">
                <a:extLst>
                  <a:ext uri="{FF2B5EF4-FFF2-40B4-BE49-F238E27FC236}">
                    <a16:creationId xmlns:a16="http://schemas.microsoft.com/office/drawing/2014/main" id="{B4A81EFD-CB8B-45DF-8004-670BFAE4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8" name="Freeform 66">
                <a:extLst>
                  <a:ext uri="{FF2B5EF4-FFF2-40B4-BE49-F238E27FC236}">
                    <a16:creationId xmlns:a16="http://schemas.microsoft.com/office/drawing/2014/main" id="{F748E56A-02C0-49CE-AF7D-CFD77B5238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0098DF35-25A8-405E-A0C5-70F56DB54794}"/>
                </a:ext>
              </a:extLst>
            </p:cNvPr>
            <p:cNvGrpSpPr/>
            <p:nvPr userDrawn="1"/>
          </p:nvGrpSpPr>
          <p:grpSpPr>
            <a:xfrm>
              <a:off x="6509582" y="575413"/>
              <a:ext cx="234011" cy="329175"/>
              <a:chOff x="2370963" y="2220799"/>
              <a:chExt cx="581424" cy="817868"/>
            </a:xfrm>
            <a:solidFill>
              <a:srgbClr val="FFFFFF">
                <a:alpha val="26000"/>
              </a:srgbClr>
            </a:solidFill>
          </p:grpSpPr>
          <p:sp>
            <p:nvSpPr>
              <p:cNvPr id="311" name="Rectangle 58">
                <a:extLst>
                  <a:ext uri="{FF2B5EF4-FFF2-40B4-BE49-F238E27FC236}">
                    <a16:creationId xmlns:a16="http://schemas.microsoft.com/office/drawing/2014/main" id="{F1E19927-6C44-4316-8E16-0732B819B7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2" name="Freeform 59">
                <a:extLst>
                  <a:ext uri="{FF2B5EF4-FFF2-40B4-BE49-F238E27FC236}">
                    <a16:creationId xmlns:a16="http://schemas.microsoft.com/office/drawing/2014/main" id="{83CE7323-6032-48EE-8CA3-3D1DC2741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3" name="Freeform 60">
                <a:extLst>
                  <a:ext uri="{FF2B5EF4-FFF2-40B4-BE49-F238E27FC236}">
                    <a16:creationId xmlns:a16="http://schemas.microsoft.com/office/drawing/2014/main" id="{89095F0B-7AB9-4554-B8F9-935B1BAD4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4" name="Freeform 61">
                <a:extLst>
                  <a:ext uri="{FF2B5EF4-FFF2-40B4-BE49-F238E27FC236}">
                    <a16:creationId xmlns:a16="http://schemas.microsoft.com/office/drawing/2014/main" id="{D2CC33B1-8F4E-41DD-A1BA-F57EDE447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5" name="Freeform 62">
                <a:extLst>
                  <a:ext uri="{FF2B5EF4-FFF2-40B4-BE49-F238E27FC236}">
                    <a16:creationId xmlns:a16="http://schemas.microsoft.com/office/drawing/2014/main" id="{4443698B-EA6C-453A-91A8-D92481C1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6" name="Freeform 63">
                <a:extLst>
                  <a:ext uri="{FF2B5EF4-FFF2-40B4-BE49-F238E27FC236}">
                    <a16:creationId xmlns:a16="http://schemas.microsoft.com/office/drawing/2014/main" id="{E201FD75-85B7-4743-A3B1-3B148BC55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7" name="Freeform 64">
                <a:extLst>
                  <a:ext uri="{FF2B5EF4-FFF2-40B4-BE49-F238E27FC236}">
                    <a16:creationId xmlns:a16="http://schemas.microsoft.com/office/drawing/2014/main" id="{D66D4AE7-CD76-44E0-8BBD-3A2358EAE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8" name="Freeform 65">
                <a:extLst>
                  <a:ext uri="{FF2B5EF4-FFF2-40B4-BE49-F238E27FC236}">
                    <a16:creationId xmlns:a16="http://schemas.microsoft.com/office/drawing/2014/main" id="{36571A25-2AAB-4043-A59C-CF30710C2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9" name="Freeform 66">
                <a:extLst>
                  <a:ext uri="{FF2B5EF4-FFF2-40B4-BE49-F238E27FC236}">
                    <a16:creationId xmlns:a16="http://schemas.microsoft.com/office/drawing/2014/main" id="{3991C0A6-92BB-4DAA-BFE2-65DAF47EE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CB943D87-0094-4CE6-A058-9C9A9D650400}"/>
                </a:ext>
              </a:extLst>
            </p:cNvPr>
            <p:cNvGrpSpPr/>
            <p:nvPr userDrawn="1"/>
          </p:nvGrpSpPr>
          <p:grpSpPr>
            <a:xfrm>
              <a:off x="4075920" y="1374980"/>
              <a:ext cx="383372" cy="352926"/>
              <a:chOff x="2019301" y="4184651"/>
              <a:chExt cx="979488" cy="901700"/>
            </a:xfrm>
            <a:solidFill>
              <a:srgbClr val="FFFFFF">
                <a:alpha val="22000"/>
              </a:srgbClr>
            </a:solidFill>
          </p:grpSpPr>
          <p:sp>
            <p:nvSpPr>
              <p:cNvPr id="304" name="Freeform 152">
                <a:extLst>
                  <a:ext uri="{FF2B5EF4-FFF2-40B4-BE49-F238E27FC236}">
                    <a16:creationId xmlns:a16="http://schemas.microsoft.com/office/drawing/2014/main" id="{71F3BD7F-A264-4433-9792-1F507804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1" y="4256088"/>
                <a:ext cx="639763" cy="192088"/>
              </a:xfrm>
              <a:custGeom>
                <a:avLst/>
                <a:gdLst>
                  <a:gd name="T0" fmla="*/ 437 w 437"/>
                  <a:gd name="T1" fmla="*/ 0 h 132"/>
                  <a:gd name="T2" fmla="*/ 437 w 437"/>
                  <a:gd name="T3" fmla="*/ 132 h 132"/>
                  <a:gd name="T4" fmla="*/ 189 w 437"/>
                  <a:gd name="T5" fmla="*/ 132 h 132"/>
                  <a:gd name="T6" fmla="*/ 189 w 437"/>
                  <a:gd name="T7" fmla="*/ 36 h 132"/>
                  <a:gd name="T8" fmla="*/ 0 w 437"/>
                  <a:gd name="T9" fmla="*/ 36 h 132"/>
                  <a:gd name="T10" fmla="*/ 0 w 437"/>
                  <a:gd name="T11" fmla="*/ 21 h 132"/>
                  <a:gd name="T12" fmla="*/ 7 w 437"/>
                  <a:gd name="T13" fmla="*/ 2 h 132"/>
                  <a:gd name="T14" fmla="*/ 8 w 437"/>
                  <a:gd name="T15" fmla="*/ 0 h 132"/>
                  <a:gd name="T16" fmla="*/ 383 w 437"/>
                  <a:gd name="T17" fmla="*/ 0 h 132"/>
                  <a:gd name="T18" fmla="*/ 437 w 437"/>
                  <a:gd name="T1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7" h="132">
                    <a:moveTo>
                      <a:pt x="437" y="0"/>
                    </a:moveTo>
                    <a:cubicBezTo>
                      <a:pt x="437" y="132"/>
                      <a:pt x="437" y="132"/>
                      <a:pt x="437" y="132"/>
                    </a:cubicBezTo>
                    <a:cubicBezTo>
                      <a:pt x="189" y="132"/>
                      <a:pt x="189" y="132"/>
                      <a:pt x="189" y="132"/>
                    </a:cubicBezTo>
                    <a:cubicBezTo>
                      <a:pt x="189" y="36"/>
                      <a:pt x="189" y="36"/>
                      <a:pt x="189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1"/>
                      <a:pt x="0" y="26"/>
                      <a:pt x="0" y="21"/>
                    </a:cubicBezTo>
                    <a:cubicBezTo>
                      <a:pt x="0" y="14"/>
                      <a:pt x="4" y="6"/>
                      <a:pt x="7" y="2"/>
                    </a:cubicBezTo>
                    <a:cubicBezTo>
                      <a:pt x="7" y="1"/>
                      <a:pt x="8" y="0"/>
                      <a:pt x="8" y="0"/>
                    </a:cubicBezTo>
                    <a:cubicBezTo>
                      <a:pt x="383" y="0"/>
                      <a:pt x="383" y="0"/>
                      <a:pt x="383" y="0"/>
                    </a:cubicBezTo>
                    <a:lnTo>
                      <a:pt x="4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5" name="Freeform 153">
                <a:extLst>
                  <a:ext uri="{FF2B5EF4-FFF2-40B4-BE49-F238E27FC236}">
                    <a16:creationId xmlns:a16="http://schemas.microsoft.com/office/drawing/2014/main" id="{94EF63D5-7F81-4416-A057-9B6AB22AB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901" y="4535488"/>
                <a:ext cx="169863" cy="263525"/>
              </a:xfrm>
              <a:custGeom>
                <a:avLst/>
                <a:gdLst>
                  <a:gd name="T0" fmla="*/ 28 w 116"/>
                  <a:gd name="T1" fmla="*/ 9 h 180"/>
                  <a:gd name="T2" fmla="*/ 58 w 116"/>
                  <a:gd name="T3" fmla="*/ 0 h 180"/>
                  <a:gd name="T4" fmla="*/ 88 w 116"/>
                  <a:gd name="T5" fmla="*/ 9 h 180"/>
                  <a:gd name="T6" fmla="*/ 106 w 116"/>
                  <a:gd name="T7" fmla="*/ 35 h 180"/>
                  <a:gd name="T8" fmla="*/ 109 w 116"/>
                  <a:gd name="T9" fmla="*/ 50 h 180"/>
                  <a:gd name="T10" fmla="*/ 109 w 116"/>
                  <a:gd name="T11" fmla="*/ 70 h 180"/>
                  <a:gd name="T12" fmla="*/ 109 w 116"/>
                  <a:gd name="T13" fmla="*/ 109 h 180"/>
                  <a:gd name="T14" fmla="*/ 116 w 116"/>
                  <a:gd name="T15" fmla="*/ 114 h 180"/>
                  <a:gd name="T16" fmla="*/ 116 w 116"/>
                  <a:gd name="T17" fmla="*/ 153 h 180"/>
                  <a:gd name="T18" fmla="*/ 116 w 116"/>
                  <a:gd name="T19" fmla="*/ 154 h 180"/>
                  <a:gd name="T20" fmla="*/ 115 w 116"/>
                  <a:gd name="T21" fmla="*/ 155 h 180"/>
                  <a:gd name="T22" fmla="*/ 114 w 116"/>
                  <a:gd name="T23" fmla="*/ 158 h 180"/>
                  <a:gd name="T24" fmla="*/ 110 w 116"/>
                  <a:gd name="T25" fmla="*/ 163 h 180"/>
                  <a:gd name="T26" fmla="*/ 99 w 116"/>
                  <a:gd name="T27" fmla="*/ 170 h 180"/>
                  <a:gd name="T28" fmla="*/ 90 w 116"/>
                  <a:gd name="T29" fmla="*/ 173 h 180"/>
                  <a:gd name="T30" fmla="*/ 82 w 116"/>
                  <a:gd name="T31" fmla="*/ 170 h 180"/>
                  <a:gd name="T32" fmla="*/ 72 w 116"/>
                  <a:gd name="T33" fmla="*/ 170 h 180"/>
                  <a:gd name="T34" fmla="*/ 61 w 116"/>
                  <a:gd name="T35" fmla="*/ 180 h 180"/>
                  <a:gd name="T36" fmla="*/ 55 w 116"/>
                  <a:gd name="T37" fmla="*/ 180 h 180"/>
                  <a:gd name="T38" fmla="*/ 55 w 116"/>
                  <a:gd name="T39" fmla="*/ 180 h 180"/>
                  <a:gd name="T40" fmla="*/ 44 w 116"/>
                  <a:gd name="T41" fmla="*/ 169 h 180"/>
                  <a:gd name="T42" fmla="*/ 34 w 116"/>
                  <a:gd name="T43" fmla="*/ 169 h 180"/>
                  <a:gd name="T44" fmla="*/ 26 w 116"/>
                  <a:gd name="T45" fmla="*/ 173 h 180"/>
                  <a:gd name="T46" fmla="*/ 17 w 116"/>
                  <a:gd name="T47" fmla="*/ 170 h 180"/>
                  <a:gd name="T48" fmla="*/ 5 w 116"/>
                  <a:gd name="T49" fmla="*/ 163 h 180"/>
                  <a:gd name="T50" fmla="*/ 2 w 116"/>
                  <a:gd name="T51" fmla="*/ 158 h 180"/>
                  <a:gd name="T52" fmla="*/ 0 w 116"/>
                  <a:gd name="T53" fmla="*/ 155 h 180"/>
                  <a:gd name="T54" fmla="*/ 0 w 116"/>
                  <a:gd name="T55" fmla="*/ 154 h 180"/>
                  <a:gd name="T56" fmla="*/ 0 w 116"/>
                  <a:gd name="T57" fmla="*/ 153 h 180"/>
                  <a:gd name="T58" fmla="*/ 0 w 116"/>
                  <a:gd name="T59" fmla="*/ 114 h 180"/>
                  <a:gd name="T60" fmla="*/ 7 w 116"/>
                  <a:gd name="T61" fmla="*/ 109 h 180"/>
                  <a:gd name="T62" fmla="*/ 7 w 116"/>
                  <a:gd name="T63" fmla="*/ 70 h 180"/>
                  <a:gd name="T64" fmla="*/ 7 w 116"/>
                  <a:gd name="T65" fmla="*/ 50 h 180"/>
                  <a:gd name="T66" fmla="*/ 9 w 116"/>
                  <a:gd name="T67" fmla="*/ 35 h 180"/>
                  <a:gd name="T68" fmla="*/ 28 w 116"/>
                  <a:gd name="T69" fmla="*/ 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6" h="180">
                    <a:moveTo>
                      <a:pt x="28" y="9"/>
                    </a:moveTo>
                    <a:cubicBezTo>
                      <a:pt x="37" y="3"/>
                      <a:pt x="47" y="0"/>
                      <a:pt x="58" y="0"/>
                    </a:cubicBezTo>
                    <a:cubicBezTo>
                      <a:pt x="69" y="0"/>
                      <a:pt x="79" y="3"/>
                      <a:pt x="88" y="9"/>
                    </a:cubicBezTo>
                    <a:cubicBezTo>
                      <a:pt x="96" y="16"/>
                      <a:pt x="103" y="25"/>
                      <a:pt x="106" y="35"/>
                    </a:cubicBezTo>
                    <a:cubicBezTo>
                      <a:pt x="108" y="40"/>
                      <a:pt x="109" y="45"/>
                      <a:pt x="109" y="5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11"/>
                      <a:pt x="112" y="113"/>
                      <a:pt x="116" y="114"/>
                    </a:cubicBezTo>
                    <a:cubicBezTo>
                      <a:pt x="116" y="153"/>
                      <a:pt x="116" y="153"/>
                      <a:pt x="116" y="153"/>
                    </a:cubicBezTo>
                    <a:cubicBezTo>
                      <a:pt x="116" y="154"/>
                      <a:pt x="116" y="154"/>
                      <a:pt x="116" y="154"/>
                    </a:cubicBezTo>
                    <a:cubicBezTo>
                      <a:pt x="115" y="155"/>
                      <a:pt x="115" y="155"/>
                      <a:pt x="115" y="155"/>
                    </a:cubicBezTo>
                    <a:cubicBezTo>
                      <a:pt x="115" y="156"/>
                      <a:pt x="114" y="157"/>
                      <a:pt x="114" y="158"/>
                    </a:cubicBezTo>
                    <a:cubicBezTo>
                      <a:pt x="113" y="160"/>
                      <a:pt x="112" y="162"/>
                      <a:pt x="110" y="163"/>
                    </a:cubicBezTo>
                    <a:cubicBezTo>
                      <a:pt x="107" y="166"/>
                      <a:pt x="103" y="169"/>
                      <a:pt x="99" y="170"/>
                    </a:cubicBezTo>
                    <a:cubicBezTo>
                      <a:pt x="96" y="172"/>
                      <a:pt x="93" y="172"/>
                      <a:pt x="90" y="173"/>
                    </a:cubicBezTo>
                    <a:cubicBezTo>
                      <a:pt x="88" y="171"/>
                      <a:pt x="85" y="170"/>
                      <a:pt x="8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66" y="170"/>
                      <a:pt x="61" y="175"/>
                      <a:pt x="61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74"/>
                      <a:pt x="50" y="169"/>
                      <a:pt x="44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0" y="169"/>
                      <a:pt x="28" y="171"/>
                      <a:pt x="26" y="173"/>
                    </a:cubicBezTo>
                    <a:cubicBezTo>
                      <a:pt x="23" y="172"/>
                      <a:pt x="20" y="171"/>
                      <a:pt x="17" y="170"/>
                    </a:cubicBezTo>
                    <a:cubicBezTo>
                      <a:pt x="12" y="168"/>
                      <a:pt x="8" y="166"/>
                      <a:pt x="5" y="163"/>
                    </a:cubicBezTo>
                    <a:cubicBezTo>
                      <a:pt x="4" y="161"/>
                      <a:pt x="3" y="159"/>
                      <a:pt x="2" y="158"/>
                    </a:cubicBezTo>
                    <a:cubicBezTo>
                      <a:pt x="1" y="157"/>
                      <a:pt x="1" y="156"/>
                      <a:pt x="0" y="155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4" y="113"/>
                      <a:pt x="7" y="111"/>
                      <a:pt x="7" y="109"/>
                    </a:cubicBezTo>
                    <a:cubicBezTo>
                      <a:pt x="7" y="70"/>
                      <a:pt x="7" y="70"/>
                      <a:pt x="7" y="70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45"/>
                      <a:pt x="8" y="40"/>
                      <a:pt x="9" y="35"/>
                    </a:cubicBezTo>
                    <a:cubicBezTo>
                      <a:pt x="13" y="25"/>
                      <a:pt x="19" y="16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6" name="Freeform 154">
                <a:extLst>
                  <a:ext uri="{FF2B5EF4-FFF2-40B4-BE49-F238E27FC236}">
                    <a16:creationId xmlns:a16="http://schemas.microsoft.com/office/drawing/2014/main" id="{2645DF8B-4444-4424-B12C-87DFBC0BC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439" y="4184651"/>
                <a:ext cx="109538" cy="298450"/>
              </a:xfrm>
              <a:custGeom>
                <a:avLst/>
                <a:gdLst>
                  <a:gd name="T0" fmla="*/ 18 w 75"/>
                  <a:gd name="T1" fmla="*/ 7 h 203"/>
                  <a:gd name="T2" fmla="*/ 55 w 75"/>
                  <a:gd name="T3" fmla="*/ 6 h 203"/>
                  <a:gd name="T4" fmla="*/ 75 w 75"/>
                  <a:gd name="T5" fmla="*/ 37 h 203"/>
                  <a:gd name="T6" fmla="*/ 75 w 75"/>
                  <a:gd name="T7" fmla="*/ 70 h 203"/>
                  <a:gd name="T8" fmla="*/ 75 w 75"/>
                  <a:gd name="T9" fmla="*/ 203 h 203"/>
                  <a:gd name="T10" fmla="*/ 65 w 75"/>
                  <a:gd name="T11" fmla="*/ 203 h 203"/>
                  <a:gd name="T12" fmla="*/ 65 w 75"/>
                  <a:gd name="T13" fmla="*/ 70 h 203"/>
                  <a:gd name="T14" fmla="*/ 65 w 75"/>
                  <a:gd name="T15" fmla="*/ 37 h 203"/>
                  <a:gd name="T16" fmla="*/ 50 w 75"/>
                  <a:gd name="T17" fmla="*/ 15 h 203"/>
                  <a:gd name="T18" fmla="*/ 24 w 75"/>
                  <a:gd name="T19" fmla="*/ 16 h 203"/>
                  <a:gd name="T20" fmla="*/ 11 w 75"/>
                  <a:gd name="T21" fmla="*/ 39 h 203"/>
                  <a:gd name="T22" fmla="*/ 0 w 75"/>
                  <a:gd name="T23" fmla="*/ 39 h 203"/>
                  <a:gd name="T24" fmla="*/ 18 w 75"/>
                  <a:gd name="T25" fmla="*/ 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3">
                    <a:moveTo>
                      <a:pt x="18" y="7"/>
                    </a:moveTo>
                    <a:cubicBezTo>
                      <a:pt x="30" y="0"/>
                      <a:pt x="44" y="0"/>
                      <a:pt x="55" y="6"/>
                    </a:cubicBezTo>
                    <a:cubicBezTo>
                      <a:pt x="67" y="12"/>
                      <a:pt x="75" y="24"/>
                      <a:pt x="75" y="37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5" y="203"/>
                      <a:pt x="75" y="203"/>
                      <a:pt x="75" y="203"/>
                    </a:cubicBezTo>
                    <a:cubicBezTo>
                      <a:pt x="65" y="203"/>
                      <a:pt x="65" y="203"/>
                      <a:pt x="65" y="203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4" y="28"/>
                      <a:pt x="59" y="19"/>
                      <a:pt x="50" y="15"/>
                    </a:cubicBezTo>
                    <a:cubicBezTo>
                      <a:pt x="42" y="10"/>
                      <a:pt x="32" y="11"/>
                      <a:pt x="24" y="16"/>
                    </a:cubicBezTo>
                    <a:cubicBezTo>
                      <a:pt x="16" y="20"/>
                      <a:pt x="11" y="29"/>
                      <a:pt x="11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6"/>
                      <a:pt x="7" y="13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7" name="Rectangle 155">
                <a:extLst>
                  <a:ext uri="{FF2B5EF4-FFF2-40B4-BE49-F238E27FC236}">
                    <a16:creationId xmlns:a16="http://schemas.microsoft.com/office/drawing/2014/main" id="{A282E18B-9D56-42E8-9CE8-C1A47B3B8D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3851" y="4256088"/>
                <a:ext cx="82550" cy="1920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id="{CA3C51E7-D6B7-49B0-999B-8AA8D58F4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6926" y="4214813"/>
                <a:ext cx="327025" cy="449263"/>
              </a:xfrm>
              <a:custGeom>
                <a:avLst/>
                <a:gdLst>
                  <a:gd name="T0" fmla="*/ 91 w 224"/>
                  <a:gd name="T1" fmla="*/ 273 h 307"/>
                  <a:gd name="T2" fmla="*/ 62 w 224"/>
                  <a:gd name="T3" fmla="*/ 285 h 307"/>
                  <a:gd name="T4" fmla="*/ 34 w 224"/>
                  <a:gd name="T5" fmla="*/ 273 h 307"/>
                  <a:gd name="T6" fmla="*/ 22 w 224"/>
                  <a:gd name="T7" fmla="*/ 245 h 307"/>
                  <a:gd name="T8" fmla="*/ 34 w 224"/>
                  <a:gd name="T9" fmla="*/ 216 h 307"/>
                  <a:gd name="T10" fmla="*/ 57 w 224"/>
                  <a:gd name="T11" fmla="*/ 205 h 307"/>
                  <a:gd name="T12" fmla="*/ 57 w 224"/>
                  <a:gd name="T13" fmla="*/ 194 h 307"/>
                  <a:gd name="T14" fmla="*/ 27 w 224"/>
                  <a:gd name="T15" fmla="*/ 209 h 307"/>
                  <a:gd name="T16" fmla="*/ 12 w 224"/>
                  <a:gd name="T17" fmla="*/ 245 h 307"/>
                  <a:gd name="T18" fmla="*/ 27 w 224"/>
                  <a:gd name="T19" fmla="*/ 280 h 307"/>
                  <a:gd name="T20" fmla="*/ 62 w 224"/>
                  <a:gd name="T21" fmla="*/ 295 h 307"/>
                  <a:gd name="T22" fmla="*/ 98 w 224"/>
                  <a:gd name="T23" fmla="*/ 280 h 307"/>
                  <a:gd name="T24" fmla="*/ 113 w 224"/>
                  <a:gd name="T25" fmla="*/ 245 h 307"/>
                  <a:gd name="T26" fmla="*/ 98 w 224"/>
                  <a:gd name="T27" fmla="*/ 209 h 307"/>
                  <a:gd name="T28" fmla="*/ 68 w 224"/>
                  <a:gd name="T29" fmla="*/ 194 h 307"/>
                  <a:gd name="T30" fmla="*/ 68 w 224"/>
                  <a:gd name="T31" fmla="*/ 205 h 307"/>
                  <a:gd name="T32" fmla="*/ 91 w 224"/>
                  <a:gd name="T33" fmla="*/ 216 h 307"/>
                  <a:gd name="T34" fmla="*/ 103 w 224"/>
                  <a:gd name="T35" fmla="*/ 245 h 307"/>
                  <a:gd name="T36" fmla="*/ 91 w 224"/>
                  <a:gd name="T37" fmla="*/ 273 h 307"/>
                  <a:gd name="T38" fmla="*/ 61 w 224"/>
                  <a:gd name="T39" fmla="*/ 30 h 307"/>
                  <a:gd name="T40" fmla="*/ 79 w 224"/>
                  <a:gd name="T41" fmla="*/ 8 h 307"/>
                  <a:gd name="T42" fmla="*/ 103 w 224"/>
                  <a:gd name="T43" fmla="*/ 0 h 307"/>
                  <a:gd name="T44" fmla="*/ 103 w 224"/>
                  <a:gd name="T45" fmla="*/ 0 h 307"/>
                  <a:gd name="T46" fmla="*/ 107 w 224"/>
                  <a:gd name="T47" fmla="*/ 0 h 307"/>
                  <a:gd name="T48" fmla="*/ 107 w 224"/>
                  <a:gd name="T49" fmla="*/ 1 h 307"/>
                  <a:gd name="T50" fmla="*/ 224 w 224"/>
                  <a:gd name="T51" fmla="*/ 19 h 307"/>
                  <a:gd name="T52" fmla="*/ 150 w 224"/>
                  <a:gd name="T53" fmla="*/ 19 h 307"/>
                  <a:gd name="T54" fmla="*/ 103 w 224"/>
                  <a:gd name="T55" fmla="*/ 12 h 307"/>
                  <a:gd name="T56" fmla="*/ 75 w 224"/>
                  <a:gd name="T57" fmla="*/ 28 h 307"/>
                  <a:gd name="T58" fmla="*/ 71 w 224"/>
                  <a:gd name="T59" fmla="*/ 34 h 307"/>
                  <a:gd name="T60" fmla="*/ 68 w 224"/>
                  <a:gd name="T61" fmla="*/ 45 h 307"/>
                  <a:gd name="T62" fmla="*/ 68 w 224"/>
                  <a:gd name="T63" fmla="*/ 50 h 307"/>
                  <a:gd name="T64" fmla="*/ 68 w 224"/>
                  <a:gd name="T65" fmla="*/ 57 h 307"/>
                  <a:gd name="T66" fmla="*/ 68 w 224"/>
                  <a:gd name="T67" fmla="*/ 82 h 307"/>
                  <a:gd name="T68" fmla="*/ 68 w 224"/>
                  <a:gd name="T69" fmla="*/ 180 h 307"/>
                  <a:gd name="T70" fmla="*/ 68 w 224"/>
                  <a:gd name="T71" fmla="*/ 180 h 307"/>
                  <a:gd name="T72" fmla="*/ 68 w 224"/>
                  <a:gd name="T73" fmla="*/ 183 h 307"/>
                  <a:gd name="T74" fmla="*/ 86 w 224"/>
                  <a:gd name="T75" fmla="*/ 187 h 307"/>
                  <a:gd name="T76" fmla="*/ 106 w 224"/>
                  <a:gd name="T77" fmla="*/ 201 h 307"/>
                  <a:gd name="T78" fmla="*/ 120 w 224"/>
                  <a:gd name="T79" fmla="*/ 221 h 307"/>
                  <a:gd name="T80" fmla="*/ 124 w 224"/>
                  <a:gd name="T81" fmla="*/ 245 h 307"/>
                  <a:gd name="T82" fmla="*/ 120 w 224"/>
                  <a:gd name="T83" fmla="*/ 268 h 307"/>
                  <a:gd name="T84" fmla="*/ 106 w 224"/>
                  <a:gd name="T85" fmla="*/ 288 h 307"/>
                  <a:gd name="T86" fmla="*/ 86 w 224"/>
                  <a:gd name="T87" fmla="*/ 302 h 307"/>
                  <a:gd name="T88" fmla="*/ 62 w 224"/>
                  <a:gd name="T89" fmla="*/ 307 h 307"/>
                  <a:gd name="T90" fmla="*/ 39 w 224"/>
                  <a:gd name="T91" fmla="*/ 302 h 307"/>
                  <a:gd name="T92" fmla="*/ 18 w 224"/>
                  <a:gd name="T93" fmla="*/ 288 h 307"/>
                  <a:gd name="T94" fmla="*/ 5 w 224"/>
                  <a:gd name="T95" fmla="*/ 268 h 307"/>
                  <a:gd name="T96" fmla="*/ 0 w 224"/>
                  <a:gd name="T97" fmla="*/ 245 h 307"/>
                  <a:gd name="T98" fmla="*/ 5 w 224"/>
                  <a:gd name="T99" fmla="*/ 221 h 307"/>
                  <a:gd name="T100" fmla="*/ 18 w 224"/>
                  <a:gd name="T101" fmla="*/ 201 h 307"/>
                  <a:gd name="T102" fmla="*/ 39 w 224"/>
                  <a:gd name="T103" fmla="*/ 187 h 307"/>
                  <a:gd name="T104" fmla="*/ 57 w 224"/>
                  <a:gd name="T105" fmla="*/ 183 h 307"/>
                  <a:gd name="T106" fmla="*/ 57 w 224"/>
                  <a:gd name="T107" fmla="*/ 180 h 307"/>
                  <a:gd name="T108" fmla="*/ 57 w 224"/>
                  <a:gd name="T109" fmla="*/ 180 h 307"/>
                  <a:gd name="T110" fmla="*/ 57 w 224"/>
                  <a:gd name="T111" fmla="*/ 165 h 307"/>
                  <a:gd name="T112" fmla="*/ 57 w 224"/>
                  <a:gd name="T113" fmla="*/ 82 h 307"/>
                  <a:gd name="T114" fmla="*/ 57 w 224"/>
                  <a:gd name="T115" fmla="*/ 57 h 307"/>
                  <a:gd name="T116" fmla="*/ 57 w 224"/>
                  <a:gd name="T117" fmla="*/ 50 h 307"/>
                  <a:gd name="T118" fmla="*/ 57 w 224"/>
                  <a:gd name="T119" fmla="*/ 43 h 307"/>
                  <a:gd name="T120" fmla="*/ 61 w 224"/>
                  <a:gd name="T121" fmla="*/ 3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4" h="307">
                    <a:moveTo>
                      <a:pt x="91" y="273"/>
                    </a:moveTo>
                    <a:cubicBezTo>
                      <a:pt x="83" y="281"/>
                      <a:pt x="73" y="285"/>
                      <a:pt x="62" y="285"/>
                    </a:cubicBezTo>
                    <a:cubicBezTo>
                      <a:pt x="52" y="285"/>
                      <a:pt x="41" y="281"/>
                      <a:pt x="34" y="273"/>
                    </a:cubicBezTo>
                    <a:cubicBezTo>
                      <a:pt x="26" y="266"/>
                      <a:pt x="22" y="255"/>
                      <a:pt x="22" y="245"/>
                    </a:cubicBezTo>
                    <a:cubicBezTo>
                      <a:pt x="22" y="234"/>
                      <a:pt x="26" y="223"/>
                      <a:pt x="34" y="216"/>
                    </a:cubicBezTo>
                    <a:cubicBezTo>
                      <a:pt x="40" y="210"/>
                      <a:pt x="48" y="206"/>
                      <a:pt x="57" y="205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45" y="196"/>
                      <a:pt x="35" y="201"/>
                      <a:pt x="27" y="209"/>
                    </a:cubicBezTo>
                    <a:cubicBezTo>
                      <a:pt x="17" y="218"/>
                      <a:pt x="12" y="231"/>
                      <a:pt x="12" y="245"/>
                    </a:cubicBezTo>
                    <a:cubicBezTo>
                      <a:pt x="12" y="258"/>
                      <a:pt x="17" y="271"/>
                      <a:pt x="27" y="280"/>
                    </a:cubicBezTo>
                    <a:cubicBezTo>
                      <a:pt x="36" y="290"/>
                      <a:pt x="49" y="295"/>
                      <a:pt x="62" y="295"/>
                    </a:cubicBezTo>
                    <a:cubicBezTo>
                      <a:pt x="76" y="295"/>
                      <a:pt x="89" y="290"/>
                      <a:pt x="98" y="280"/>
                    </a:cubicBezTo>
                    <a:cubicBezTo>
                      <a:pt x="107" y="271"/>
                      <a:pt x="113" y="258"/>
                      <a:pt x="113" y="245"/>
                    </a:cubicBezTo>
                    <a:cubicBezTo>
                      <a:pt x="113" y="231"/>
                      <a:pt x="107" y="218"/>
                      <a:pt x="98" y="209"/>
                    </a:cubicBezTo>
                    <a:cubicBezTo>
                      <a:pt x="90" y="201"/>
                      <a:pt x="79" y="196"/>
                      <a:pt x="68" y="194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77" y="206"/>
                      <a:pt x="85" y="210"/>
                      <a:pt x="91" y="216"/>
                    </a:cubicBezTo>
                    <a:cubicBezTo>
                      <a:pt x="98" y="223"/>
                      <a:pt x="103" y="234"/>
                      <a:pt x="103" y="245"/>
                    </a:cubicBezTo>
                    <a:cubicBezTo>
                      <a:pt x="103" y="255"/>
                      <a:pt x="98" y="266"/>
                      <a:pt x="91" y="273"/>
                    </a:cubicBezTo>
                    <a:close/>
                    <a:moveTo>
                      <a:pt x="61" y="30"/>
                    </a:moveTo>
                    <a:cubicBezTo>
                      <a:pt x="65" y="21"/>
                      <a:pt x="71" y="13"/>
                      <a:pt x="79" y="8"/>
                    </a:cubicBezTo>
                    <a:cubicBezTo>
                      <a:pt x="86" y="3"/>
                      <a:pt x="95" y="1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4" y="0"/>
                      <a:pt x="105" y="0"/>
                      <a:pt x="107" y="0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224" y="19"/>
                      <a:pt x="224" y="19"/>
                      <a:pt x="22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03" y="12"/>
                      <a:pt x="103" y="12"/>
                      <a:pt x="103" y="12"/>
                    </a:cubicBezTo>
                    <a:cubicBezTo>
                      <a:pt x="92" y="13"/>
                      <a:pt x="82" y="19"/>
                      <a:pt x="75" y="28"/>
                    </a:cubicBezTo>
                    <a:cubicBezTo>
                      <a:pt x="74" y="30"/>
                      <a:pt x="72" y="32"/>
                      <a:pt x="71" y="34"/>
                    </a:cubicBezTo>
                    <a:cubicBezTo>
                      <a:pt x="70" y="38"/>
                      <a:pt x="69" y="41"/>
                      <a:pt x="68" y="45"/>
                    </a:cubicBezTo>
                    <a:cubicBezTo>
                      <a:pt x="68" y="47"/>
                      <a:pt x="68" y="48"/>
                      <a:pt x="68" y="50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3"/>
                      <a:pt x="68" y="183"/>
                      <a:pt x="68" y="183"/>
                    </a:cubicBezTo>
                    <a:cubicBezTo>
                      <a:pt x="74" y="183"/>
                      <a:pt x="80" y="185"/>
                      <a:pt x="86" y="187"/>
                    </a:cubicBezTo>
                    <a:cubicBezTo>
                      <a:pt x="94" y="190"/>
                      <a:pt x="100" y="195"/>
                      <a:pt x="106" y="201"/>
                    </a:cubicBezTo>
                    <a:cubicBezTo>
                      <a:pt x="112" y="206"/>
                      <a:pt x="117" y="213"/>
                      <a:pt x="120" y="221"/>
                    </a:cubicBezTo>
                    <a:cubicBezTo>
                      <a:pt x="123" y="228"/>
                      <a:pt x="124" y="236"/>
                      <a:pt x="124" y="245"/>
                    </a:cubicBezTo>
                    <a:cubicBezTo>
                      <a:pt x="124" y="253"/>
                      <a:pt x="123" y="261"/>
                      <a:pt x="120" y="268"/>
                    </a:cubicBezTo>
                    <a:cubicBezTo>
                      <a:pt x="117" y="276"/>
                      <a:pt x="112" y="283"/>
                      <a:pt x="106" y="288"/>
                    </a:cubicBezTo>
                    <a:cubicBezTo>
                      <a:pt x="100" y="294"/>
                      <a:pt x="94" y="299"/>
                      <a:pt x="86" y="302"/>
                    </a:cubicBezTo>
                    <a:cubicBezTo>
                      <a:pt x="79" y="305"/>
                      <a:pt x="70" y="307"/>
                      <a:pt x="62" y="307"/>
                    </a:cubicBezTo>
                    <a:cubicBezTo>
                      <a:pt x="54" y="307"/>
                      <a:pt x="46" y="305"/>
                      <a:pt x="39" y="302"/>
                    </a:cubicBezTo>
                    <a:cubicBezTo>
                      <a:pt x="31" y="299"/>
                      <a:pt x="24" y="294"/>
                      <a:pt x="18" y="288"/>
                    </a:cubicBezTo>
                    <a:cubicBezTo>
                      <a:pt x="13" y="283"/>
                      <a:pt x="8" y="276"/>
                      <a:pt x="5" y="268"/>
                    </a:cubicBezTo>
                    <a:cubicBezTo>
                      <a:pt x="2" y="261"/>
                      <a:pt x="0" y="253"/>
                      <a:pt x="0" y="245"/>
                    </a:cubicBezTo>
                    <a:cubicBezTo>
                      <a:pt x="0" y="236"/>
                      <a:pt x="2" y="228"/>
                      <a:pt x="5" y="221"/>
                    </a:cubicBezTo>
                    <a:cubicBezTo>
                      <a:pt x="8" y="213"/>
                      <a:pt x="13" y="206"/>
                      <a:pt x="18" y="201"/>
                    </a:cubicBezTo>
                    <a:cubicBezTo>
                      <a:pt x="24" y="195"/>
                      <a:pt x="31" y="190"/>
                      <a:pt x="39" y="187"/>
                    </a:cubicBezTo>
                    <a:cubicBezTo>
                      <a:pt x="44" y="185"/>
                      <a:pt x="50" y="183"/>
                      <a:pt x="57" y="183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65"/>
                      <a:pt x="57" y="165"/>
                      <a:pt x="57" y="165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7" y="48"/>
                      <a:pt x="57" y="46"/>
                      <a:pt x="57" y="43"/>
                    </a:cubicBezTo>
                    <a:cubicBezTo>
                      <a:pt x="58" y="39"/>
                      <a:pt x="59" y="34"/>
                      <a:pt x="61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9" name="Freeform 157">
                <a:extLst>
                  <a:ext uri="{FF2B5EF4-FFF2-40B4-BE49-F238E27FC236}">
                    <a16:creationId xmlns:a16="http://schemas.microsoft.com/office/drawing/2014/main" id="{FA7D1D1A-5C25-40A6-913D-485F64812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9301" y="4346576"/>
                <a:ext cx="979488" cy="739775"/>
              </a:xfrm>
              <a:custGeom>
                <a:avLst/>
                <a:gdLst>
                  <a:gd name="T0" fmla="*/ 302 w 670"/>
                  <a:gd name="T1" fmla="*/ 247 h 506"/>
                  <a:gd name="T2" fmla="*/ 226 w 670"/>
                  <a:gd name="T3" fmla="*/ 314 h 506"/>
                  <a:gd name="T4" fmla="*/ 302 w 670"/>
                  <a:gd name="T5" fmla="*/ 389 h 506"/>
                  <a:gd name="T6" fmla="*/ 369 w 670"/>
                  <a:gd name="T7" fmla="*/ 314 h 506"/>
                  <a:gd name="T8" fmla="*/ 444 w 670"/>
                  <a:gd name="T9" fmla="*/ 247 h 506"/>
                  <a:gd name="T10" fmla="*/ 369 w 670"/>
                  <a:gd name="T11" fmla="*/ 172 h 506"/>
                  <a:gd name="T12" fmla="*/ 271 w 670"/>
                  <a:gd name="T13" fmla="*/ 99 h 506"/>
                  <a:gd name="T14" fmla="*/ 557 w 670"/>
                  <a:gd name="T15" fmla="*/ 105 h 506"/>
                  <a:gd name="T16" fmla="*/ 518 w 670"/>
                  <a:gd name="T17" fmla="*/ 119 h 506"/>
                  <a:gd name="T18" fmla="*/ 487 w 670"/>
                  <a:gd name="T19" fmla="*/ 179 h 506"/>
                  <a:gd name="T20" fmla="*/ 487 w 670"/>
                  <a:gd name="T21" fmla="*/ 238 h 506"/>
                  <a:gd name="T22" fmla="*/ 493 w 670"/>
                  <a:gd name="T23" fmla="*/ 282 h 506"/>
                  <a:gd name="T24" fmla="*/ 494 w 670"/>
                  <a:gd name="T25" fmla="*/ 285 h 506"/>
                  <a:gd name="T26" fmla="*/ 496 w 670"/>
                  <a:gd name="T27" fmla="*/ 292 h 506"/>
                  <a:gd name="T28" fmla="*/ 517 w 670"/>
                  <a:gd name="T29" fmla="*/ 309 h 506"/>
                  <a:gd name="T30" fmla="*/ 538 w 670"/>
                  <a:gd name="T31" fmla="*/ 319 h 506"/>
                  <a:gd name="T32" fmla="*/ 559 w 670"/>
                  <a:gd name="T33" fmla="*/ 309 h 506"/>
                  <a:gd name="T34" fmla="*/ 576 w 670"/>
                  <a:gd name="T35" fmla="*/ 320 h 506"/>
                  <a:gd name="T36" fmla="*/ 596 w 670"/>
                  <a:gd name="T37" fmla="*/ 313 h 506"/>
                  <a:gd name="T38" fmla="*/ 622 w 670"/>
                  <a:gd name="T39" fmla="*/ 300 h 506"/>
                  <a:gd name="T40" fmla="*/ 629 w 670"/>
                  <a:gd name="T41" fmla="*/ 288 h 506"/>
                  <a:gd name="T42" fmla="*/ 630 w 670"/>
                  <a:gd name="T43" fmla="*/ 284 h 506"/>
                  <a:gd name="T44" fmla="*/ 630 w 670"/>
                  <a:gd name="T45" fmla="*/ 243 h 506"/>
                  <a:gd name="T46" fmla="*/ 637 w 670"/>
                  <a:gd name="T47" fmla="*/ 199 h 506"/>
                  <a:gd name="T48" fmla="*/ 633 w 670"/>
                  <a:gd name="T49" fmla="*/ 156 h 506"/>
                  <a:gd name="T50" fmla="*/ 570 w 670"/>
                  <a:gd name="T51" fmla="*/ 105 h 506"/>
                  <a:gd name="T52" fmla="*/ 567 w 670"/>
                  <a:gd name="T53" fmla="*/ 99 h 506"/>
                  <a:gd name="T54" fmla="*/ 670 w 670"/>
                  <a:gd name="T55" fmla="*/ 506 h 506"/>
                  <a:gd name="T56" fmla="*/ 0 w 670"/>
                  <a:gd name="T57" fmla="*/ 0 h 506"/>
                  <a:gd name="T58" fmla="*/ 77 w 670"/>
                  <a:gd name="T59" fmla="*/ 75 h 506"/>
                  <a:gd name="T60" fmla="*/ 95 w 670"/>
                  <a:gd name="T61" fmla="*/ 233 h 506"/>
                  <a:gd name="T62" fmla="*/ 113 w 670"/>
                  <a:gd name="T63" fmla="*/ 75 h 506"/>
                  <a:gd name="T64" fmla="*/ 271 w 670"/>
                  <a:gd name="T65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0" h="506">
                    <a:moveTo>
                      <a:pt x="302" y="172"/>
                    </a:moveTo>
                    <a:cubicBezTo>
                      <a:pt x="302" y="247"/>
                      <a:pt x="302" y="247"/>
                      <a:pt x="302" y="247"/>
                    </a:cubicBezTo>
                    <a:cubicBezTo>
                      <a:pt x="226" y="247"/>
                      <a:pt x="226" y="247"/>
                      <a:pt x="226" y="247"/>
                    </a:cubicBezTo>
                    <a:cubicBezTo>
                      <a:pt x="226" y="314"/>
                      <a:pt x="226" y="314"/>
                      <a:pt x="226" y="314"/>
                    </a:cubicBezTo>
                    <a:cubicBezTo>
                      <a:pt x="302" y="314"/>
                      <a:pt x="302" y="314"/>
                      <a:pt x="302" y="314"/>
                    </a:cubicBezTo>
                    <a:cubicBezTo>
                      <a:pt x="302" y="389"/>
                      <a:pt x="302" y="389"/>
                      <a:pt x="302" y="389"/>
                    </a:cubicBezTo>
                    <a:cubicBezTo>
                      <a:pt x="369" y="389"/>
                      <a:pt x="369" y="389"/>
                      <a:pt x="369" y="389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444" y="314"/>
                      <a:pt x="444" y="314"/>
                      <a:pt x="444" y="314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369" y="247"/>
                      <a:pt x="369" y="247"/>
                      <a:pt x="369" y="247"/>
                    </a:cubicBezTo>
                    <a:cubicBezTo>
                      <a:pt x="369" y="172"/>
                      <a:pt x="369" y="172"/>
                      <a:pt x="369" y="172"/>
                    </a:cubicBezTo>
                    <a:lnTo>
                      <a:pt x="302" y="172"/>
                    </a:lnTo>
                    <a:close/>
                    <a:moveTo>
                      <a:pt x="271" y="99"/>
                    </a:moveTo>
                    <a:cubicBezTo>
                      <a:pt x="557" y="99"/>
                      <a:pt x="557" y="99"/>
                      <a:pt x="557" y="99"/>
                    </a:cubicBezTo>
                    <a:cubicBezTo>
                      <a:pt x="557" y="105"/>
                      <a:pt x="557" y="105"/>
                      <a:pt x="557" y="105"/>
                    </a:cubicBezTo>
                    <a:cubicBezTo>
                      <a:pt x="554" y="105"/>
                      <a:pt x="554" y="105"/>
                      <a:pt x="554" y="105"/>
                    </a:cubicBezTo>
                    <a:cubicBezTo>
                      <a:pt x="541" y="106"/>
                      <a:pt x="528" y="111"/>
                      <a:pt x="518" y="119"/>
                    </a:cubicBezTo>
                    <a:cubicBezTo>
                      <a:pt x="505" y="128"/>
                      <a:pt x="495" y="141"/>
                      <a:pt x="490" y="156"/>
                    </a:cubicBezTo>
                    <a:cubicBezTo>
                      <a:pt x="488" y="163"/>
                      <a:pt x="487" y="171"/>
                      <a:pt x="487" y="179"/>
                    </a:cubicBezTo>
                    <a:cubicBezTo>
                      <a:pt x="487" y="199"/>
                      <a:pt x="487" y="199"/>
                      <a:pt x="487" y="199"/>
                    </a:cubicBezTo>
                    <a:cubicBezTo>
                      <a:pt x="487" y="238"/>
                      <a:pt x="487" y="238"/>
                      <a:pt x="487" y="238"/>
                    </a:cubicBezTo>
                    <a:cubicBezTo>
                      <a:pt x="487" y="240"/>
                      <a:pt x="489" y="242"/>
                      <a:pt x="493" y="243"/>
                    </a:cubicBezTo>
                    <a:cubicBezTo>
                      <a:pt x="493" y="282"/>
                      <a:pt x="493" y="282"/>
                      <a:pt x="493" y="282"/>
                    </a:cubicBezTo>
                    <a:cubicBezTo>
                      <a:pt x="493" y="283"/>
                      <a:pt x="493" y="283"/>
                      <a:pt x="494" y="284"/>
                    </a:cubicBezTo>
                    <a:cubicBezTo>
                      <a:pt x="494" y="284"/>
                      <a:pt x="494" y="285"/>
                      <a:pt x="494" y="285"/>
                    </a:cubicBezTo>
                    <a:cubicBezTo>
                      <a:pt x="494" y="286"/>
                      <a:pt x="494" y="287"/>
                      <a:pt x="494" y="287"/>
                    </a:cubicBezTo>
                    <a:cubicBezTo>
                      <a:pt x="495" y="289"/>
                      <a:pt x="496" y="290"/>
                      <a:pt x="496" y="292"/>
                    </a:cubicBezTo>
                    <a:cubicBezTo>
                      <a:pt x="498" y="294"/>
                      <a:pt x="500" y="297"/>
                      <a:pt x="502" y="299"/>
                    </a:cubicBezTo>
                    <a:cubicBezTo>
                      <a:pt x="506" y="303"/>
                      <a:pt x="511" y="306"/>
                      <a:pt x="517" y="309"/>
                    </a:cubicBezTo>
                    <a:cubicBezTo>
                      <a:pt x="520" y="310"/>
                      <a:pt x="524" y="311"/>
                      <a:pt x="528" y="312"/>
                    </a:cubicBezTo>
                    <a:cubicBezTo>
                      <a:pt x="529" y="316"/>
                      <a:pt x="533" y="319"/>
                      <a:pt x="538" y="319"/>
                    </a:cubicBezTo>
                    <a:cubicBezTo>
                      <a:pt x="548" y="319"/>
                      <a:pt x="548" y="319"/>
                      <a:pt x="548" y="319"/>
                    </a:cubicBezTo>
                    <a:cubicBezTo>
                      <a:pt x="554" y="319"/>
                      <a:pt x="558" y="315"/>
                      <a:pt x="559" y="309"/>
                    </a:cubicBezTo>
                    <a:cubicBezTo>
                      <a:pt x="565" y="309"/>
                      <a:pt x="565" y="309"/>
                      <a:pt x="565" y="309"/>
                    </a:cubicBezTo>
                    <a:cubicBezTo>
                      <a:pt x="565" y="315"/>
                      <a:pt x="570" y="320"/>
                      <a:pt x="576" y="320"/>
                    </a:cubicBezTo>
                    <a:cubicBezTo>
                      <a:pt x="586" y="320"/>
                      <a:pt x="586" y="320"/>
                      <a:pt x="586" y="320"/>
                    </a:cubicBezTo>
                    <a:cubicBezTo>
                      <a:pt x="591" y="320"/>
                      <a:pt x="595" y="317"/>
                      <a:pt x="596" y="313"/>
                    </a:cubicBezTo>
                    <a:cubicBezTo>
                      <a:pt x="600" y="312"/>
                      <a:pt x="603" y="311"/>
                      <a:pt x="607" y="309"/>
                    </a:cubicBezTo>
                    <a:cubicBezTo>
                      <a:pt x="612" y="307"/>
                      <a:pt x="617" y="304"/>
                      <a:pt x="622" y="300"/>
                    </a:cubicBezTo>
                    <a:cubicBezTo>
                      <a:pt x="624" y="297"/>
                      <a:pt x="626" y="295"/>
                      <a:pt x="627" y="292"/>
                    </a:cubicBezTo>
                    <a:cubicBezTo>
                      <a:pt x="628" y="291"/>
                      <a:pt x="629" y="290"/>
                      <a:pt x="629" y="288"/>
                    </a:cubicBezTo>
                    <a:cubicBezTo>
                      <a:pt x="629" y="287"/>
                      <a:pt x="630" y="286"/>
                      <a:pt x="630" y="286"/>
                    </a:cubicBezTo>
                    <a:cubicBezTo>
                      <a:pt x="630" y="285"/>
                      <a:pt x="630" y="285"/>
                      <a:pt x="630" y="284"/>
                    </a:cubicBezTo>
                    <a:cubicBezTo>
                      <a:pt x="630" y="284"/>
                      <a:pt x="630" y="283"/>
                      <a:pt x="630" y="282"/>
                    </a:cubicBezTo>
                    <a:cubicBezTo>
                      <a:pt x="630" y="243"/>
                      <a:pt x="630" y="243"/>
                      <a:pt x="630" y="243"/>
                    </a:cubicBezTo>
                    <a:cubicBezTo>
                      <a:pt x="634" y="242"/>
                      <a:pt x="637" y="240"/>
                      <a:pt x="637" y="238"/>
                    </a:cubicBezTo>
                    <a:cubicBezTo>
                      <a:pt x="637" y="199"/>
                      <a:pt x="637" y="199"/>
                      <a:pt x="637" y="199"/>
                    </a:cubicBezTo>
                    <a:cubicBezTo>
                      <a:pt x="637" y="179"/>
                      <a:pt x="637" y="179"/>
                      <a:pt x="637" y="179"/>
                    </a:cubicBezTo>
                    <a:cubicBezTo>
                      <a:pt x="637" y="171"/>
                      <a:pt x="636" y="163"/>
                      <a:pt x="633" y="156"/>
                    </a:cubicBezTo>
                    <a:cubicBezTo>
                      <a:pt x="628" y="141"/>
                      <a:pt x="618" y="128"/>
                      <a:pt x="606" y="119"/>
                    </a:cubicBezTo>
                    <a:cubicBezTo>
                      <a:pt x="595" y="111"/>
                      <a:pt x="583" y="106"/>
                      <a:pt x="570" y="105"/>
                    </a:cubicBezTo>
                    <a:cubicBezTo>
                      <a:pt x="567" y="105"/>
                      <a:pt x="567" y="105"/>
                      <a:pt x="567" y="105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670" y="99"/>
                      <a:pt x="670" y="99"/>
                      <a:pt x="670" y="99"/>
                    </a:cubicBezTo>
                    <a:cubicBezTo>
                      <a:pt x="670" y="506"/>
                      <a:pt x="670" y="506"/>
                      <a:pt x="670" y="506"/>
                    </a:cubicBezTo>
                    <a:cubicBezTo>
                      <a:pt x="0" y="506"/>
                      <a:pt x="0" y="506"/>
                      <a:pt x="0" y="50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75"/>
                      <a:pt x="77" y="75"/>
                      <a:pt x="77" y="75"/>
                    </a:cubicBezTo>
                    <a:cubicBezTo>
                      <a:pt x="42" y="83"/>
                      <a:pt x="15" y="115"/>
                      <a:pt x="15" y="153"/>
                    </a:cubicBezTo>
                    <a:cubicBezTo>
                      <a:pt x="15" y="197"/>
                      <a:pt x="51" y="233"/>
                      <a:pt x="95" y="233"/>
                    </a:cubicBezTo>
                    <a:cubicBezTo>
                      <a:pt x="139" y="233"/>
                      <a:pt x="175" y="197"/>
                      <a:pt x="175" y="153"/>
                    </a:cubicBezTo>
                    <a:cubicBezTo>
                      <a:pt x="175" y="115"/>
                      <a:pt x="149" y="83"/>
                      <a:pt x="113" y="75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271" y="0"/>
                      <a:pt x="271" y="0"/>
                      <a:pt x="271" y="0"/>
                    </a:cubicBezTo>
                    <a:lnTo>
                      <a:pt x="27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0" name="Freeform 158">
                <a:extLst>
                  <a:ext uri="{FF2B5EF4-FFF2-40B4-BE49-F238E27FC236}">
                    <a16:creationId xmlns:a16="http://schemas.microsoft.com/office/drawing/2014/main" id="{E2D84283-A7D8-4B46-8286-A4B4BB3CD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276" y="4256088"/>
                <a:ext cx="68263" cy="52388"/>
              </a:xfrm>
              <a:custGeom>
                <a:avLst/>
                <a:gdLst>
                  <a:gd name="T0" fmla="*/ 0 w 46"/>
                  <a:gd name="T1" fmla="*/ 0 h 36"/>
                  <a:gd name="T2" fmla="*/ 46 w 46"/>
                  <a:gd name="T3" fmla="*/ 0 h 36"/>
                  <a:gd name="T4" fmla="*/ 42 w 46"/>
                  <a:gd name="T5" fmla="*/ 15 h 36"/>
                  <a:gd name="T6" fmla="*/ 42 w 46"/>
                  <a:gd name="T7" fmla="*/ 36 h 36"/>
                  <a:gd name="T8" fmla="*/ 0 w 46"/>
                  <a:gd name="T9" fmla="*/ 36 h 36"/>
                  <a:gd name="T10" fmla="*/ 0 w 46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36">
                    <a:moveTo>
                      <a:pt x="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4" y="4"/>
                      <a:pt x="42" y="10"/>
                      <a:pt x="42" y="15"/>
                    </a:cubicBezTo>
                    <a:cubicBezTo>
                      <a:pt x="42" y="21"/>
                      <a:pt x="42" y="30"/>
                      <a:pt x="42" y="36"/>
                    </a:cubicBezTo>
                    <a:cubicBezTo>
                      <a:pt x="0" y="36"/>
                      <a:pt x="0" y="36"/>
                      <a:pt x="0" y="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8" name="Group 40">
              <a:extLst>
                <a:ext uri="{FF2B5EF4-FFF2-40B4-BE49-F238E27FC236}">
                  <a16:creationId xmlns:a16="http://schemas.microsoft.com/office/drawing/2014/main" id="{CE74D16A-6EE2-4ECE-BCC5-1189E3EB7C4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306384" y="2099921"/>
              <a:ext cx="269552" cy="378776"/>
              <a:chOff x="1798" y="107"/>
              <a:chExt cx="2152" cy="3024"/>
            </a:xfrm>
            <a:solidFill>
              <a:srgbClr val="FFFFFF">
                <a:alpha val="28000"/>
              </a:srgbClr>
            </a:solidFill>
          </p:grpSpPr>
          <p:sp>
            <p:nvSpPr>
              <p:cNvPr id="300" name="Freeform 41">
                <a:extLst>
                  <a:ext uri="{FF2B5EF4-FFF2-40B4-BE49-F238E27FC236}">
                    <a16:creationId xmlns:a16="http://schemas.microsoft.com/office/drawing/2014/main" id="{21CF14CD-E2EF-4E67-BE02-227CBDEC3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8" y="443"/>
                <a:ext cx="2152" cy="2688"/>
              </a:xfrm>
              <a:custGeom>
                <a:avLst/>
                <a:gdLst>
                  <a:gd name="T0" fmla="*/ 462 w 1432"/>
                  <a:gd name="T1" fmla="*/ 191 h 1792"/>
                  <a:gd name="T2" fmla="*/ 427 w 1432"/>
                  <a:gd name="T3" fmla="*/ 191 h 1792"/>
                  <a:gd name="T4" fmla="*/ 337 w 1432"/>
                  <a:gd name="T5" fmla="*/ 95 h 1792"/>
                  <a:gd name="T6" fmla="*/ 429 w 1432"/>
                  <a:gd name="T7" fmla="*/ 0 h 1792"/>
                  <a:gd name="T8" fmla="*/ 947 w 1432"/>
                  <a:gd name="T9" fmla="*/ 0 h 1792"/>
                  <a:gd name="T10" fmla="*/ 1040 w 1432"/>
                  <a:gd name="T11" fmla="*/ 94 h 1792"/>
                  <a:gd name="T12" fmla="*/ 949 w 1432"/>
                  <a:gd name="T13" fmla="*/ 191 h 1792"/>
                  <a:gd name="T14" fmla="*/ 910 w 1432"/>
                  <a:gd name="T15" fmla="*/ 191 h 1792"/>
                  <a:gd name="T16" fmla="*/ 909 w 1432"/>
                  <a:gd name="T17" fmla="*/ 214 h 1792"/>
                  <a:gd name="T18" fmla="*/ 910 w 1432"/>
                  <a:gd name="T19" fmla="*/ 678 h 1792"/>
                  <a:gd name="T20" fmla="*/ 920 w 1432"/>
                  <a:gd name="T21" fmla="*/ 713 h 1792"/>
                  <a:gd name="T22" fmla="*/ 1404 w 1432"/>
                  <a:gd name="T23" fmla="*/ 1527 h 1792"/>
                  <a:gd name="T24" fmla="*/ 1419 w 1432"/>
                  <a:gd name="T25" fmla="*/ 1659 h 1792"/>
                  <a:gd name="T26" fmla="*/ 1307 w 1432"/>
                  <a:gd name="T27" fmla="*/ 1783 h 1792"/>
                  <a:gd name="T28" fmla="*/ 1266 w 1432"/>
                  <a:gd name="T29" fmla="*/ 1791 h 1792"/>
                  <a:gd name="T30" fmla="*/ 192 w 1432"/>
                  <a:gd name="T31" fmla="*/ 1792 h 1792"/>
                  <a:gd name="T32" fmla="*/ 53 w 1432"/>
                  <a:gd name="T33" fmla="*/ 1721 h 1792"/>
                  <a:gd name="T34" fmla="*/ 36 w 1432"/>
                  <a:gd name="T35" fmla="*/ 1526 h 1792"/>
                  <a:gd name="T36" fmla="*/ 456 w 1432"/>
                  <a:gd name="T37" fmla="*/ 709 h 1792"/>
                  <a:gd name="T38" fmla="*/ 462 w 1432"/>
                  <a:gd name="T39" fmla="*/ 684 h 1792"/>
                  <a:gd name="T40" fmla="*/ 464 w 1432"/>
                  <a:gd name="T41" fmla="*/ 204 h 1792"/>
                  <a:gd name="T42" fmla="*/ 462 w 1432"/>
                  <a:gd name="T43" fmla="*/ 191 h 1792"/>
                  <a:gd name="T44" fmla="*/ 528 w 1432"/>
                  <a:gd name="T45" fmla="*/ 128 h 1792"/>
                  <a:gd name="T46" fmla="*/ 528 w 1432"/>
                  <a:gd name="T47" fmla="*/ 155 h 1792"/>
                  <a:gd name="T48" fmla="*/ 527 w 1432"/>
                  <a:gd name="T49" fmla="*/ 677 h 1792"/>
                  <a:gd name="T50" fmla="*/ 518 w 1432"/>
                  <a:gd name="T51" fmla="*/ 715 h 1792"/>
                  <a:gd name="T52" fmla="*/ 88 w 1432"/>
                  <a:gd name="T53" fmla="*/ 1558 h 1792"/>
                  <a:gd name="T54" fmla="*/ 191 w 1432"/>
                  <a:gd name="T55" fmla="*/ 1727 h 1792"/>
                  <a:gd name="T56" fmla="*/ 1251 w 1432"/>
                  <a:gd name="T57" fmla="*/ 1727 h 1792"/>
                  <a:gd name="T58" fmla="*/ 1344 w 1432"/>
                  <a:gd name="T59" fmla="*/ 1668 h 1792"/>
                  <a:gd name="T60" fmla="*/ 1350 w 1432"/>
                  <a:gd name="T61" fmla="*/ 1556 h 1792"/>
                  <a:gd name="T62" fmla="*/ 871 w 1432"/>
                  <a:gd name="T63" fmla="*/ 733 h 1792"/>
                  <a:gd name="T64" fmla="*/ 849 w 1432"/>
                  <a:gd name="T65" fmla="*/ 652 h 1792"/>
                  <a:gd name="T66" fmla="*/ 849 w 1432"/>
                  <a:gd name="T67" fmla="*/ 148 h 1792"/>
                  <a:gd name="T68" fmla="*/ 849 w 1432"/>
                  <a:gd name="T69" fmla="*/ 128 h 1792"/>
                  <a:gd name="T70" fmla="*/ 946 w 1432"/>
                  <a:gd name="T71" fmla="*/ 127 h 1792"/>
                  <a:gd name="T72" fmla="*/ 976 w 1432"/>
                  <a:gd name="T73" fmla="*/ 97 h 1792"/>
                  <a:gd name="T74" fmla="*/ 945 w 1432"/>
                  <a:gd name="T75" fmla="*/ 64 h 1792"/>
                  <a:gd name="T76" fmla="*/ 933 w 1432"/>
                  <a:gd name="T77" fmla="*/ 64 h 1792"/>
                  <a:gd name="T78" fmla="*/ 445 w 1432"/>
                  <a:gd name="T79" fmla="*/ 64 h 1792"/>
                  <a:gd name="T80" fmla="*/ 427 w 1432"/>
                  <a:gd name="T81" fmla="*/ 65 h 1792"/>
                  <a:gd name="T82" fmla="*/ 403 w 1432"/>
                  <a:gd name="T83" fmla="*/ 106 h 1792"/>
                  <a:gd name="T84" fmla="*/ 437 w 1432"/>
                  <a:gd name="T85" fmla="*/ 128 h 1792"/>
                  <a:gd name="T86" fmla="*/ 528 w 1432"/>
                  <a:gd name="T87" fmla="*/ 128 h 1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2" h="1792">
                    <a:moveTo>
                      <a:pt x="462" y="191"/>
                    </a:moveTo>
                    <a:cubicBezTo>
                      <a:pt x="449" y="191"/>
                      <a:pt x="438" y="192"/>
                      <a:pt x="427" y="191"/>
                    </a:cubicBezTo>
                    <a:cubicBezTo>
                      <a:pt x="376" y="188"/>
                      <a:pt x="336" y="145"/>
                      <a:pt x="337" y="95"/>
                    </a:cubicBezTo>
                    <a:cubicBezTo>
                      <a:pt x="337" y="44"/>
                      <a:pt x="378" y="1"/>
                      <a:pt x="429" y="0"/>
                    </a:cubicBezTo>
                    <a:cubicBezTo>
                      <a:pt x="602" y="0"/>
                      <a:pt x="774" y="0"/>
                      <a:pt x="947" y="0"/>
                    </a:cubicBezTo>
                    <a:cubicBezTo>
                      <a:pt x="998" y="1"/>
                      <a:pt x="1039" y="44"/>
                      <a:pt x="1040" y="94"/>
                    </a:cubicBezTo>
                    <a:cubicBezTo>
                      <a:pt x="1041" y="146"/>
                      <a:pt x="1001" y="189"/>
                      <a:pt x="949" y="191"/>
                    </a:cubicBezTo>
                    <a:cubicBezTo>
                      <a:pt x="937" y="192"/>
                      <a:pt x="925" y="191"/>
                      <a:pt x="910" y="191"/>
                    </a:cubicBezTo>
                    <a:cubicBezTo>
                      <a:pt x="910" y="200"/>
                      <a:pt x="909" y="207"/>
                      <a:pt x="909" y="214"/>
                    </a:cubicBezTo>
                    <a:cubicBezTo>
                      <a:pt x="909" y="369"/>
                      <a:pt x="909" y="523"/>
                      <a:pt x="910" y="678"/>
                    </a:cubicBezTo>
                    <a:cubicBezTo>
                      <a:pt x="910" y="690"/>
                      <a:pt x="914" y="703"/>
                      <a:pt x="920" y="713"/>
                    </a:cubicBezTo>
                    <a:cubicBezTo>
                      <a:pt x="1081" y="985"/>
                      <a:pt x="1241" y="1256"/>
                      <a:pt x="1404" y="1527"/>
                    </a:cubicBezTo>
                    <a:cubicBezTo>
                      <a:pt x="1430" y="1570"/>
                      <a:pt x="1432" y="1614"/>
                      <a:pt x="1419" y="1659"/>
                    </a:cubicBezTo>
                    <a:cubicBezTo>
                      <a:pt x="1402" y="1718"/>
                      <a:pt x="1364" y="1761"/>
                      <a:pt x="1307" y="1783"/>
                    </a:cubicBezTo>
                    <a:cubicBezTo>
                      <a:pt x="1294" y="1788"/>
                      <a:pt x="1280" y="1791"/>
                      <a:pt x="1266" y="1791"/>
                    </a:cubicBezTo>
                    <a:cubicBezTo>
                      <a:pt x="908" y="1791"/>
                      <a:pt x="550" y="1791"/>
                      <a:pt x="192" y="1792"/>
                    </a:cubicBezTo>
                    <a:cubicBezTo>
                      <a:pt x="131" y="1792"/>
                      <a:pt x="86" y="1767"/>
                      <a:pt x="53" y="1721"/>
                    </a:cubicBezTo>
                    <a:cubicBezTo>
                      <a:pt x="9" y="1660"/>
                      <a:pt x="0" y="1596"/>
                      <a:pt x="36" y="1526"/>
                    </a:cubicBezTo>
                    <a:cubicBezTo>
                      <a:pt x="176" y="1254"/>
                      <a:pt x="316" y="981"/>
                      <a:pt x="456" y="709"/>
                    </a:cubicBezTo>
                    <a:cubicBezTo>
                      <a:pt x="459" y="701"/>
                      <a:pt x="462" y="693"/>
                      <a:pt x="462" y="684"/>
                    </a:cubicBezTo>
                    <a:cubicBezTo>
                      <a:pt x="463" y="524"/>
                      <a:pt x="463" y="364"/>
                      <a:pt x="464" y="204"/>
                    </a:cubicBezTo>
                    <a:cubicBezTo>
                      <a:pt x="464" y="201"/>
                      <a:pt x="463" y="198"/>
                      <a:pt x="462" y="191"/>
                    </a:cubicBezTo>
                    <a:close/>
                    <a:moveTo>
                      <a:pt x="528" y="128"/>
                    </a:moveTo>
                    <a:cubicBezTo>
                      <a:pt x="528" y="139"/>
                      <a:pt x="528" y="147"/>
                      <a:pt x="528" y="155"/>
                    </a:cubicBezTo>
                    <a:cubicBezTo>
                      <a:pt x="528" y="329"/>
                      <a:pt x="528" y="503"/>
                      <a:pt x="527" y="677"/>
                    </a:cubicBezTo>
                    <a:cubicBezTo>
                      <a:pt x="527" y="690"/>
                      <a:pt x="524" y="704"/>
                      <a:pt x="518" y="715"/>
                    </a:cubicBezTo>
                    <a:cubicBezTo>
                      <a:pt x="375" y="996"/>
                      <a:pt x="232" y="1277"/>
                      <a:pt x="88" y="1558"/>
                    </a:cubicBezTo>
                    <a:cubicBezTo>
                      <a:pt x="53" y="1628"/>
                      <a:pt x="113" y="1727"/>
                      <a:pt x="191" y="1727"/>
                    </a:cubicBezTo>
                    <a:cubicBezTo>
                      <a:pt x="545" y="1727"/>
                      <a:pt x="898" y="1727"/>
                      <a:pt x="1251" y="1727"/>
                    </a:cubicBezTo>
                    <a:cubicBezTo>
                      <a:pt x="1294" y="1727"/>
                      <a:pt x="1324" y="1703"/>
                      <a:pt x="1344" y="1668"/>
                    </a:cubicBezTo>
                    <a:cubicBezTo>
                      <a:pt x="1365" y="1633"/>
                      <a:pt x="1372" y="1594"/>
                      <a:pt x="1350" y="1556"/>
                    </a:cubicBezTo>
                    <a:cubicBezTo>
                      <a:pt x="1190" y="1282"/>
                      <a:pt x="1031" y="1007"/>
                      <a:pt x="871" y="733"/>
                    </a:cubicBezTo>
                    <a:cubicBezTo>
                      <a:pt x="856" y="707"/>
                      <a:pt x="849" y="681"/>
                      <a:pt x="849" y="652"/>
                    </a:cubicBezTo>
                    <a:cubicBezTo>
                      <a:pt x="849" y="484"/>
                      <a:pt x="849" y="316"/>
                      <a:pt x="849" y="148"/>
                    </a:cubicBezTo>
                    <a:cubicBezTo>
                      <a:pt x="848" y="142"/>
                      <a:pt x="849" y="135"/>
                      <a:pt x="849" y="128"/>
                    </a:cubicBezTo>
                    <a:cubicBezTo>
                      <a:pt x="883" y="128"/>
                      <a:pt x="914" y="128"/>
                      <a:pt x="946" y="127"/>
                    </a:cubicBezTo>
                    <a:cubicBezTo>
                      <a:pt x="964" y="127"/>
                      <a:pt x="976" y="113"/>
                      <a:pt x="976" y="97"/>
                    </a:cubicBezTo>
                    <a:cubicBezTo>
                      <a:pt x="977" y="80"/>
                      <a:pt x="963" y="66"/>
                      <a:pt x="945" y="64"/>
                    </a:cubicBezTo>
                    <a:cubicBezTo>
                      <a:pt x="941" y="64"/>
                      <a:pt x="937" y="64"/>
                      <a:pt x="933" y="64"/>
                    </a:cubicBezTo>
                    <a:cubicBezTo>
                      <a:pt x="770" y="64"/>
                      <a:pt x="608" y="64"/>
                      <a:pt x="445" y="64"/>
                    </a:cubicBezTo>
                    <a:cubicBezTo>
                      <a:pt x="439" y="64"/>
                      <a:pt x="433" y="64"/>
                      <a:pt x="427" y="65"/>
                    </a:cubicBezTo>
                    <a:cubicBezTo>
                      <a:pt x="408" y="68"/>
                      <a:pt x="396" y="88"/>
                      <a:pt x="403" y="106"/>
                    </a:cubicBezTo>
                    <a:cubicBezTo>
                      <a:pt x="408" y="122"/>
                      <a:pt x="420" y="128"/>
                      <a:pt x="437" y="128"/>
                    </a:cubicBezTo>
                    <a:cubicBezTo>
                      <a:pt x="466" y="128"/>
                      <a:pt x="496" y="128"/>
                      <a:pt x="528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1" name="Freeform 42">
                <a:extLst>
                  <a:ext uri="{FF2B5EF4-FFF2-40B4-BE49-F238E27FC236}">
                    <a16:creationId xmlns:a16="http://schemas.microsoft.com/office/drawing/2014/main" id="{D088B1E6-9DC6-443D-8C8A-232659017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107"/>
                <a:ext cx="194" cy="192"/>
              </a:xfrm>
              <a:custGeom>
                <a:avLst/>
                <a:gdLst>
                  <a:gd name="T0" fmla="*/ 65 w 129"/>
                  <a:gd name="T1" fmla="*/ 128 h 128"/>
                  <a:gd name="T2" fmla="*/ 1 w 129"/>
                  <a:gd name="T3" fmla="*/ 65 h 128"/>
                  <a:gd name="T4" fmla="*/ 64 w 129"/>
                  <a:gd name="T5" fmla="*/ 0 h 128"/>
                  <a:gd name="T6" fmla="*/ 128 w 129"/>
                  <a:gd name="T7" fmla="*/ 64 h 128"/>
                  <a:gd name="T8" fmla="*/ 65 w 129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8">
                    <a:moveTo>
                      <a:pt x="65" y="128"/>
                    </a:moveTo>
                    <a:cubicBezTo>
                      <a:pt x="30" y="128"/>
                      <a:pt x="1" y="101"/>
                      <a:pt x="1" y="65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99" y="0"/>
                      <a:pt x="128" y="29"/>
                      <a:pt x="128" y="64"/>
                    </a:cubicBezTo>
                    <a:cubicBezTo>
                      <a:pt x="129" y="98"/>
                      <a:pt x="100" y="127"/>
                      <a:pt x="65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2" name="Freeform 43">
                <a:extLst>
                  <a:ext uri="{FF2B5EF4-FFF2-40B4-BE49-F238E27FC236}">
                    <a16:creationId xmlns:a16="http://schemas.microsoft.com/office/drawing/2014/main" id="{463D57CE-6C01-44F6-99DC-70318E68C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03"/>
                <a:ext cx="193" cy="192"/>
              </a:xfrm>
              <a:custGeom>
                <a:avLst/>
                <a:gdLst>
                  <a:gd name="T0" fmla="*/ 63 w 128"/>
                  <a:gd name="T1" fmla="*/ 128 h 128"/>
                  <a:gd name="T2" fmla="*/ 0 w 128"/>
                  <a:gd name="T3" fmla="*/ 64 h 128"/>
                  <a:gd name="T4" fmla="*/ 63 w 128"/>
                  <a:gd name="T5" fmla="*/ 0 h 128"/>
                  <a:gd name="T6" fmla="*/ 127 w 128"/>
                  <a:gd name="T7" fmla="*/ 65 h 128"/>
                  <a:gd name="T8" fmla="*/ 63 w 128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28">
                    <a:moveTo>
                      <a:pt x="63" y="128"/>
                    </a:moveTo>
                    <a:cubicBezTo>
                      <a:pt x="28" y="128"/>
                      <a:pt x="0" y="100"/>
                      <a:pt x="0" y="64"/>
                    </a:cubicBezTo>
                    <a:cubicBezTo>
                      <a:pt x="0" y="29"/>
                      <a:pt x="28" y="0"/>
                      <a:pt x="63" y="0"/>
                    </a:cubicBezTo>
                    <a:cubicBezTo>
                      <a:pt x="98" y="0"/>
                      <a:pt x="128" y="30"/>
                      <a:pt x="127" y="65"/>
                    </a:cubicBezTo>
                    <a:cubicBezTo>
                      <a:pt x="127" y="100"/>
                      <a:pt x="98" y="128"/>
                      <a:pt x="63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3" name="Freeform 45">
                <a:extLst>
                  <a:ext uri="{FF2B5EF4-FFF2-40B4-BE49-F238E27FC236}">
                    <a16:creationId xmlns:a16="http://schemas.microsoft.com/office/drawing/2014/main" id="{F31D42CD-F82F-4179-98AA-CF92CCC75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3" y="1773"/>
                <a:ext cx="1771" cy="1172"/>
              </a:xfrm>
              <a:custGeom>
                <a:avLst/>
                <a:gdLst>
                  <a:gd name="T0" fmla="*/ 805 w 1178"/>
                  <a:gd name="T1" fmla="*/ 78 h 781"/>
                  <a:gd name="T2" fmla="*/ 936 w 1178"/>
                  <a:gd name="T3" fmla="*/ 306 h 781"/>
                  <a:gd name="T4" fmla="*/ 1154 w 1178"/>
                  <a:gd name="T5" fmla="*/ 685 h 781"/>
                  <a:gd name="T6" fmla="*/ 1098 w 1178"/>
                  <a:gd name="T7" fmla="*/ 781 h 781"/>
                  <a:gd name="T8" fmla="*/ 79 w 1178"/>
                  <a:gd name="T9" fmla="*/ 781 h 781"/>
                  <a:gd name="T10" fmla="*/ 21 w 1178"/>
                  <a:gd name="T11" fmla="*/ 689 h 781"/>
                  <a:gd name="T12" fmla="*/ 329 w 1178"/>
                  <a:gd name="T13" fmla="*/ 84 h 781"/>
                  <a:gd name="T14" fmla="*/ 502 w 1178"/>
                  <a:gd name="T15" fmla="*/ 33 h 781"/>
                  <a:gd name="T16" fmla="*/ 569 w 1178"/>
                  <a:gd name="T17" fmla="*/ 83 h 781"/>
                  <a:gd name="T18" fmla="*/ 655 w 1178"/>
                  <a:gd name="T19" fmla="*/ 132 h 781"/>
                  <a:gd name="T20" fmla="*/ 787 w 1178"/>
                  <a:gd name="T21" fmla="*/ 92 h 781"/>
                  <a:gd name="T22" fmla="*/ 802 w 1178"/>
                  <a:gd name="T23" fmla="*/ 79 h 781"/>
                  <a:gd name="T24" fmla="*/ 805 w 1178"/>
                  <a:gd name="T25" fmla="*/ 78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8" h="781">
                    <a:moveTo>
                      <a:pt x="805" y="78"/>
                    </a:moveTo>
                    <a:cubicBezTo>
                      <a:pt x="849" y="154"/>
                      <a:pt x="892" y="230"/>
                      <a:pt x="936" y="306"/>
                    </a:cubicBezTo>
                    <a:cubicBezTo>
                      <a:pt x="1008" y="433"/>
                      <a:pt x="1079" y="560"/>
                      <a:pt x="1154" y="685"/>
                    </a:cubicBezTo>
                    <a:cubicBezTo>
                      <a:pt x="1178" y="727"/>
                      <a:pt x="1146" y="781"/>
                      <a:pt x="1098" y="781"/>
                    </a:cubicBezTo>
                    <a:cubicBezTo>
                      <a:pt x="758" y="780"/>
                      <a:pt x="419" y="780"/>
                      <a:pt x="79" y="781"/>
                    </a:cubicBezTo>
                    <a:cubicBezTo>
                      <a:pt x="32" y="781"/>
                      <a:pt x="0" y="730"/>
                      <a:pt x="21" y="689"/>
                    </a:cubicBezTo>
                    <a:cubicBezTo>
                      <a:pt x="125" y="488"/>
                      <a:pt x="226" y="286"/>
                      <a:pt x="329" y="84"/>
                    </a:cubicBezTo>
                    <a:cubicBezTo>
                      <a:pt x="359" y="25"/>
                      <a:pt x="441" y="0"/>
                      <a:pt x="502" y="33"/>
                    </a:cubicBezTo>
                    <a:cubicBezTo>
                      <a:pt x="527" y="46"/>
                      <a:pt x="548" y="65"/>
                      <a:pt x="569" y="83"/>
                    </a:cubicBezTo>
                    <a:cubicBezTo>
                      <a:pt x="595" y="105"/>
                      <a:pt x="622" y="124"/>
                      <a:pt x="655" y="132"/>
                    </a:cubicBezTo>
                    <a:cubicBezTo>
                      <a:pt x="707" y="144"/>
                      <a:pt x="749" y="125"/>
                      <a:pt x="787" y="92"/>
                    </a:cubicBezTo>
                    <a:cubicBezTo>
                      <a:pt x="792" y="88"/>
                      <a:pt x="797" y="83"/>
                      <a:pt x="802" y="79"/>
                    </a:cubicBezTo>
                    <a:cubicBezTo>
                      <a:pt x="803" y="78"/>
                      <a:pt x="803" y="78"/>
                      <a:pt x="805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C51FD42-21B9-43D4-A8EC-538C27DA8AB0}"/>
                </a:ext>
              </a:extLst>
            </p:cNvPr>
            <p:cNvSpPr/>
            <p:nvPr userDrawn="1"/>
          </p:nvSpPr>
          <p:spPr>
            <a:xfrm rot="16200000" flipH="1">
              <a:off x="4544379" y="-398872"/>
              <a:ext cx="45719" cy="9153523"/>
            </a:xfrm>
            <a:prstGeom prst="rect">
              <a:avLst/>
            </a:prstGeom>
            <a:solidFill>
              <a:srgbClr val="009FDA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14803907-D560-4C52-923A-1DF2E9E1A6F5}"/>
                </a:ext>
              </a:extLst>
            </p:cNvPr>
            <p:cNvGrpSpPr/>
            <p:nvPr userDrawn="1"/>
          </p:nvGrpSpPr>
          <p:grpSpPr>
            <a:xfrm>
              <a:off x="7503032" y="33559"/>
              <a:ext cx="698710" cy="623536"/>
              <a:chOff x="9190927" y="210961"/>
              <a:chExt cx="814733" cy="727076"/>
            </a:xfrm>
          </p:grpSpPr>
          <p:grpSp>
            <p:nvGrpSpPr>
              <p:cNvPr id="260" name="Group 4">
                <a:extLst>
                  <a:ext uri="{FF2B5EF4-FFF2-40B4-BE49-F238E27FC236}">
                    <a16:creationId xmlns:a16="http://schemas.microsoft.com/office/drawing/2014/main" id="{0CBE5023-0039-4304-BCDD-E27DA5F1600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6" name="Freeform 5">
                  <a:extLst>
                    <a:ext uri="{FF2B5EF4-FFF2-40B4-BE49-F238E27FC236}">
                      <a16:creationId xmlns:a16="http://schemas.microsoft.com/office/drawing/2014/main" id="{EDD31BE2-22C1-4BC5-922F-4CB72895F8A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7" name="Freeform 6">
                  <a:extLst>
                    <a:ext uri="{FF2B5EF4-FFF2-40B4-BE49-F238E27FC236}">
                      <a16:creationId xmlns:a16="http://schemas.microsoft.com/office/drawing/2014/main" id="{6BBE0D01-C90E-4D57-B4A9-6F4F707831F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8" name="Freeform 7">
                  <a:extLst>
                    <a:ext uri="{FF2B5EF4-FFF2-40B4-BE49-F238E27FC236}">
                      <a16:creationId xmlns:a16="http://schemas.microsoft.com/office/drawing/2014/main" id="{D676979B-2804-4F29-9C34-252EB50C195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9" name="Oval 8">
                  <a:extLst>
                    <a:ext uri="{FF2B5EF4-FFF2-40B4-BE49-F238E27FC236}">
                      <a16:creationId xmlns:a16="http://schemas.microsoft.com/office/drawing/2014/main" id="{CEB6A559-E6E6-41D4-BA0C-4607522E77A4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1" name="Group 4">
                <a:extLst>
                  <a:ext uri="{FF2B5EF4-FFF2-40B4-BE49-F238E27FC236}">
                    <a16:creationId xmlns:a16="http://schemas.microsoft.com/office/drawing/2014/main" id="{A3FE6F58-C31C-44B3-8BA5-F6BB172BE64C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2" name="Freeform 5">
                  <a:extLst>
                    <a:ext uri="{FF2B5EF4-FFF2-40B4-BE49-F238E27FC236}">
                      <a16:creationId xmlns:a16="http://schemas.microsoft.com/office/drawing/2014/main" id="{B7F56473-3D14-4ED1-A3EB-F4A7180B20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3" name="Freeform 6">
                  <a:extLst>
                    <a:ext uri="{FF2B5EF4-FFF2-40B4-BE49-F238E27FC236}">
                      <a16:creationId xmlns:a16="http://schemas.microsoft.com/office/drawing/2014/main" id="{72638918-AF3C-4AD8-B88E-72A978B5350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4" name="Freeform 7">
                  <a:extLst>
                    <a:ext uri="{FF2B5EF4-FFF2-40B4-BE49-F238E27FC236}">
                      <a16:creationId xmlns:a16="http://schemas.microsoft.com/office/drawing/2014/main" id="{EF4A916B-8649-409B-B1F6-6CF88B0474D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5" name="Oval 8">
                  <a:extLst>
                    <a:ext uri="{FF2B5EF4-FFF2-40B4-BE49-F238E27FC236}">
                      <a16:creationId xmlns:a16="http://schemas.microsoft.com/office/drawing/2014/main" id="{9AA4566B-D9AC-4695-A9F4-9A643383DC1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2" name="Group 4">
                <a:extLst>
                  <a:ext uri="{FF2B5EF4-FFF2-40B4-BE49-F238E27FC236}">
                    <a16:creationId xmlns:a16="http://schemas.microsoft.com/office/drawing/2014/main" id="{B0B2F3A2-BC34-454E-9C55-3C35D997374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8" name="Freeform 5">
                  <a:extLst>
                    <a:ext uri="{FF2B5EF4-FFF2-40B4-BE49-F238E27FC236}">
                      <a16:creationId xmlns:a16="http://schemas.microsoft.com/office/drawing/2014/main" id="{1ACDD0D5-65A5-4029-8B07-8E11EAF4320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9" name="Freeform 6">
                  <a:extLst>
                    <a:ext uri="{FF2B5EF4-FFF2-40B4-BE49-F238E27FC236}">
                      <a16:creationId xmlns:a16="http://schemas.microsoft.com/office/drawing/2014/main" id="{0147FADB-5CF5-40F2-84C0-BE04D21867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0" name="Freeform 7">
                  <a:extLst>
                    <a:ext uri="{FF2B5EF4-FFF2-40B4-BE49-F238E27FC236}">
                      <a16:creationId xmlns:a16="http://schemas.microsoft.com/office/drawing/2014/main" id="{BBFB1532-9FAC-4535-8AFB-2F1CA587270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1" name="Oval 8">
                  <a:extLst>
                    <a:ext uri="{FF2B5EF4-FFF2-40B4-BE49-F238E27FC236}">
                      <a16:creationId xmlns:a16="http://schemas.microsoft.com/office/drawing/2014/main" id="{FB0D6103-8662-459A-ACF3-33EFA6C9CC71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3" name="Group 4">
                <a:extLst>
                  <a:ext uri="{FF2B5EF4-FFF2-40B4-BE49-F238E27FC236}">
                    <a16:creationId xmlns:a16="http://schemas.microsoft.com/office/drawing/2014/main" id="{3DCF2843-CFBB-4FAD-90E5-79F019ED5AED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4" name="Freeform 5">
                  <a:extLst>
                    <a:ext uri="{FF2B5EF4-FFF2-40B4-BE49-F238E27FC236}">
                      <a16:creationId xmlns:a16="http://schemas.microsoft.com/office/drawing/2014/main" id="{2AE913A6-998B-49EF-89B8-F63A13A22BF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5" name="Freeform 6">
                  <a:extLst>
                    <a:ext uri="{FF2B5EF4-FFF2-40B4-BE49-F238E27FC236}">
                      <a16:creationId xmlns:a16="http://schemas.microsoft.com/office/drawing/2014/main" id="{65C8582C-E643-418C-A010-5F15F45C43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6" name="Freeform 7">
                  <a:extLst>
                    <a:ext uri="{FF2B5EF4-FFF2-40B4-BE49-F238E27FC236}">
                      <a16:creationId xmlns:a16="http://schemas.microsoft.com/office/drawing/2014/main" id="{96D1807B-E19F-4F7F-BDB3-8066EEED8DA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7" name="Oval 8">
                  <a:extLst>
                    <a:ext uri="{FF2B5EF4-FFF2-40B4-BE49-F238E27FC236}">
                      <a16:creationId xmlns:a16="http://schemas.microsoft.com/office/drawing/2014/main" id="{F17264AA-43ED-4DE9-B39D-B6B3E23949D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4" name="Group 4">
                <a:extLst>
                  <a:ext uri="{FF2B5EF4-FFF2-40B4-BE49-F238E27FC236}">
                    <a16:creationId xmlns:a16="http://schemas.microsoft.com/office/drawing/2014/main" id="{BD8DC4EA-65FB-4225-8252-899220756DFB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0" name="Freeform 5">
                  <a:extLst>
                    <a:ext uri="{FF2B5EF4-FFF2-40B4-BE49-F238E27FC236}">
                      <a16:creationId xmlns:a16="http://schemas.microsoft.com/office/drawing/2014/main" id="{84AAA033-F6F4-4E75-8129-5A9B87697D4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1" name="Freeform 6">
                  <a:extLst>
                    <a:ext uri="{FF2B5EF4-FFF2-40B4-BE49-F238E27FC236}">
                      <a16:creationId xmlns:a16="http://schemas.microsoft.com/office/drawing/2014/main" id="{49F142C7-2552-4C79-81A9-CE6F8C8C70E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2" name="Freeform 7">
                  <a:extLst>
                    <a:ext uri="{FF2B5EF4-FFF2-40B4-BE49-F238E27FC236}">
                      <a16:creationId xmlns:a16="http://schemas.microsoft.com/office/drawing/2014/main" id="{674C8007-12A0-4FF8-810C-36637ACB491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3" name="Oval 8">
                  <a:extLst>
                    <a:ext uri="{FF2B5EF4-FFF2-40B4-BE49-F238E27FC236}">
                      <a16:creationId xmlns:a16="http://schemas.microsoft.com/office/drawing/2014/main" id="{D0BAE79C-B03D-4D3C-BD22-EEA214D7089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5" name="Group 4">
                <a:extLst>
                  <a:ext uri="{FF2B5EF4-FFF2-40B4-BE49-F238E27FC236}">
                    <a16:creationId xmlns:a16="http://schemas.microsoft.com/office/drawing/2014/main" id="{10374411-5B9A-4473-9C11-D230B90AF64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6" name="Freeform 5">
                  <a:extLst>
                    <a:ext uri="{FF2B5EF4-FFF2-40B4-BE49-F238E27FC236}">
                      <a16:creationId xmlns:a16="http://schemas.microsoft.com/office/drawing/2014/main" id="{27467283-7DA6-4FF1-87E0-1C9B77064C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7" name="Freeform 6">
                  <a:extLst>
                    <a:ext uri="{FF2B5EF4-FFF2-40B4-BE49-F238E27FC236}">
                      <a16:creationId xmlns:a16="http://schemas.microsoft.com/office/drawing/2014/main" id="{9ACB551F-B9E7-45AB-874B-9FDF36E692C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8" name="Freeform 7">
                  <a:extLst>
                    <a:ext uri="{FF2B5EF4-FFF2-40B4-BE49-F238E27FC236}">
                      <a16:creationId xmlns:a16="http://schemas.microsoft.com/office/drawing/2014/main" id="{26F640E1-57DA-4046-8A92-F0337A7CE8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9" name="Oval 8">
                  <a:extLst>
                    <a:ext uri="{FF2B5EF4-FFF2-40B4-BE49-F238E27FC236}">
                      <a16:creationId xmlns:a16="http://schemas.microsoft.com/office/drawing/2014/main" id="{B04EE586-93D1-40F1-8366-8BD4CB9702B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6" name="Group 4">
                <a:extLst>
                  <a:ext uri="{FF2B5EF4-FFF2-40B4-BE49-F238E27FC236}">
                    <a16:creationId xmlns:a16="http://schemas.microsoft.com/office/drawing/2014/main" id="{3030F8B8-1387-492B-9469-4CB8CC585AA9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2" name="Freeform 5">
                  <a:extLst>
                    <a:ext uri="{FF2B5EF4-FFF2-40B4-BE49-F238E27FC236}">
                      <a16:creationId xmlns:a16="http://schemas.microsoft.com/office/drawing/2014/main" id="{0ED9C729-AD53-4DA4-BF8E-21398571CF3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3" name="Freeform 6">
                  <a:extLst>
                    <a:ext uri="{FF2B5EF4-FFF2-40B4-BE49-F238E27FC236}">
                      <a16:creationId xmlns:a16="http://schemas.microsoft.com/office/drawing/2014/main" id="{84538DF4-47E6-4B0A-A82F-0E89627CB8A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4" name="Freeform 7">
                  <a:extLst>
                    <a:ext uri="{FF2B5EF4-FFF2-40B4-BE49-F238E27FC236}">
                      <a16:creationId xmlns:a16="http://schemas.microsoft.com/office/drawing/2014/main" id="{2984A441-6432-4AD7-9D1F-6A121A4B42D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5" name="Oval 8">
                  <a:extLst>
                    <a:ext uri="{FF2B5EF4-FFF2-40B4-BE49-F238E27FC236}">
                      <a16:creationId xmlns:a16="http://schemas.microsoft.com/office/drawing/2014/main" id="{3C2D3B7A-6663-40C8-A94E-8A930B20CA7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7" name="Group 4">
                <a:extLst>
                  <a:ext uri="{FF2B5EF4-FFF2-40B4-BE49-F238E27FC236}">
                    <a16:creationId xmlns:a16="http://schemas.microsoft.com/office/drawing/2014/main" id="{8C1CBFB2-C334-4632-B641-74D726FCC59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68" name="Freeform 5">
                  <a:extLst>
                    <a:ext uri="{FF2B5EF4-FFF2-40B4-BE49-F238E27FC236}">
                      <a16:creationId xmlns:a16="http://schemas.microsoft.com/office/drawing/2014/main" id="{2CD22FC3-C7EC-48DE-ABA3-B8D098E4589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69" name="Freeform 6">
                  <a:extLst>
                    <a:ext uri="{FF2B5EF4-FFF2-40B4-BE49-F238E27FC236}">
                      <a16:creationId xmlns:a16="http://schemas.microsoft.com/office/drawing/2014/main" id="{6477FEEF-44B3-46A1-9093-C94D4C339AD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0" name="Freeform 7">
                  <a:extLst>
                    <a:ext uri="{FF2B5EF4-FFF2-40B4-BE49-F238E27FC236}">
                      <a16:creationId xmlns:a16="http://schemas.microsoft.com/office/drawing/2014/main" id="{975081A2-5152-480A-BB68-69D3BB1FEA8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1" name="Oval 8">
                  <a:extLst>
                    <a:ext uri="{FF2B5EF4-FFF2-40B4-BE49-F238E27FC236}">
                      <a16:creationId xmlns:a16="http://schemas.microsoft.com/office/drawing/2014/main" id="{F3BB9AF9-894A-453F-8666-4C20FD4AC1D6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4A23F8AB-14DF-4165-9BEF-1A7F56582A23}"/>
                </a:ext>
              </a:extLst>
            </p:cNvPr>
            <p:cNvGrpSpPr/>
            <p:nvPr userDrawn="1"/>
          </p:nvGrpSpPr>
          <p:grpSpPr>
            <a:xfrm>
              <a:off x="3350951" y="3531233"/>
              <a:ext cx="455447" cy="406446"/>
              <a:chOff x="9190927" y="210961"/>
              <a:chExt cx="814733" cy="727076"/>
            </a:xfrm>
            <a:solidFill>
              <a:srgbClr val="61A4C8"/>
            </a:solidFill>
          </p:grpSpPr>
          <p:grpSp>
            <p:nvGrpSpPr>
              <p:cNvPr id="220" name="Group 4">
                <a:extLst>
                  <a:ext uri="{FF2B5EF4-FFF2-40B4-BE49-F238E27FC236}">
                    <a16:creationId xmlns:a16="http://schemas.microsoft.com/office/drawing/2014/main" id="{D66F3FBF-785D-4908-9868-6A9475BA298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grpFill/>
            </p:grpSpPr>
            <p:sp>
              <p:nvSpPr>
                <p:cNvPr id="256" name="Freeform 5">
                  <a:extLst>
                    <a:ext uri="{FF2B5EF4-FFF2-40B4-BE49-F238E27FC236}">
                      <a16:creationId xmlns:a16="http://schemas.microsoft.com/office/drawing/2014/main" id="{5E3B00E1-9CBF-40DF-AB27-6AD172D3CC2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7" name="Freeform 6">
                  <a:extLst>
                    <a:ext uri="{FF2B5EF4-FFF2-40B4-BE49-F238E27FC236}">
                      <a16:creationId xmlns:a16="http://schemas.microsoft.com/office/drawing/2014/main" id="{CBA5E845-E86C-4AAA-9703-8E64F2FE3BC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8" name="Freeform 7">
                  <a:extLst>
                    <a:ext uri="{FF2B5EF4-FFF2-40B4-BE49-F238E27FC236}">
                      <a16:creationId xmlns:a16="http://schemas.microsoft.com/office/drawing/2014/main" id="{4169DED7-041F-4105-AA2F-1561D31171F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9" name="Oval 8">
                  <a:extLst>
                    <a:ext uri="{FF2B5EF4-FFF2-40B4-BE49-F238E27FC236}">
                      <a16:creationId xmlns:a16="http://schemas.microsoft.com/office/drawing/2014/main" id="{3D90A6CD-CF9D-4F2C-94CF-F2A6C2E3F287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1" name="Group 4">
                <a:extLst>
                  <a:ext uri="{FF2B5EF4-FFF2-40B4-BE49-F238E27FC236}">
                    <a16:creationId xmlns:a16="http://schemas.microsoft.com/office/drawing/2014/main" id="{73C971E8-1B28-4102-960B-98469801DFF7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grpFill/>
            </p:grpSpPr>
            <p:sp>
              <p:nvSpPr>
                <p:cNvPr id="252" name="Freeform 5">
                  <a:extLst>
                    <a:ext uri="{FF2B5EF4-FFF2-40B4-BE49-F238E27FC236}">
                      <a16:creationId xmlns:a16="http://schemas.microsoft.com/office/drawing/2014/main" id="{06121D32-2504-4C10-A65A-265271F6D8F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3" name="Freeform 6">
                  <a:extLst>
                    <a:ext uri="{FF2B5EF4-FFF2-40B4-BE49-F238E27FC236}">
                      <a16:creationId xmlns:a16="http://schemas.microsoft.com/office/drawing/2014/main" id="{99D66AE0-80BB-4FF5-B669-28B633BE280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4" name="Freeform 7">
                  <a:extLst>
                    <a:ext uri="{FF2B5EF4-FFF2-40B4-BE49-F238E27FC236}">
                      <a16:creationId xmlns:a16="http://schemas.microsoft.com/office/drawing/2014/main" id="{C6156161-4336-4109-8A1A-160D63DC9C6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5" name="Oval 8">
                  <a:extLst>
                    <a:ext uri="{FF2B5EF4-FFF2-40B4-BE49-F238E27FC236}">
                      <a16:creationId xmlns:a16="http://schemas.microsoft.com/office/drawing/2014/main" id="{626ABDD2-9C2E-4574-AE92-C404A88E8E4D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2" name="Group 4">
                <a:extLst>
                  <a:ext uri="{FF2B5EF4-FFF2-40B4-BE49-F238E27FC236}">
                    <a16:creationId xmlns:a16="http://schemas.microsoft.com/office/drawing/2014/main" id="{9B76A1A3-936B-4FB1-9090-EAA8A6570AB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id="{B69B3006-E75A-46B4-BE2F-E354B6A8F31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id="{41282BAA-B774-4B18-B78D-9FF5893030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id="{025C13ED-45F4-40F4-A461-044FD06833D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1" name="Oval 8">
                  <a:extLst>
                    <a:ext uri="{FF2B5EF4-FFF2-40B4-BE49-F238E27FC236}">
                      <a16:creationId xmlns:a16="http://schemas.microsoft.com/office/drawing/2014/main" id="{99A530D7-03AD-4F94-9BEA-266A036A020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3" name="Group 4">
                <a:extLst>
                  <a:ext uri="{FF2B5EF4-FFF2-40B4-BE49-F238E27FC236}">
                    <a16:creationId xmlns:a16="http://schemas.microsoft.com/office/drawing/2014/main" id="{C68C6270-7926-435C-80E6-B0074CA5B42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4" name="Freeform 5">
                  <a:extLst>
                    <a:ext uri="{FF2B5EF4-FFF2-40B4-BE49-F238E27FC236}">
                      <a16:creationId xmlns:a16="http://schemas.microsoft.com/office/drawing/2014/main" id="{1DE37ABB-9864-4266-8D2B-7A33E6F7AD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5" name="Freeform 6">
                  <a:extLst>
                    <a:ext uri="{FF2B5EF4-FFF2-40B4-BE49-F238E27FC236}">
                      <a16:creationId xmlns:a16="http://schemas.microsoft.com/office/drawing/2014/main" id="{9F7FCA9E-6B16-44F2-942A-A2BC6C3C38C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6" name="Freeform 7">
                  <a:extLst>
                    <a:ext uri="{FF2B5EF4-FFF2-40B4-BE49-F238E27FC236}">
                      <a16:creationId xmlns:a16="http://schemas.microsoft.com/office/drawing/2014/main" id="{CB77EBD5-087B-4448-B2EA-B6605EE2C92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7" name="Oval 8">
                  <a:extLst>
                    <a:ext uri="{FF2B5EF4-FFF2-40B4-BE49-F238E27FC236}">
                      <a16:creationId xmlns:a16="http://schemas.microsoft.com/office/drawing/2014/main" id="{DAC830F4-47DF-41B1-ACA5-8530266DC8F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4" name="Group 4">
                <a:extLst>
                  <a:ext uri="{FF2B5EF4-FFF2-40B4-BE49-F238E27FC236}">
                    <a16:creationId xmlns:a16="http://schemas.microsoft.com/office/drawing/2014/main" id="{E70D1B36-412B-48EC-B5EA-1B0D94E6A6C1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0" name="Freeform 5">
                  <a:extLst>
                    <a:ext uri="{FF2B5EF4-FFF2-40B4-BE49-F238E27FC236}">
                      <a16:creationId xmlns:a16="http://schemas.microsoft.com/office/drawing/2014/main" id="{5D177913-3023-4394-85DE-4C1E164E8B9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1" name="Freeform 6">
                  <a:extLst>
                    <a:ext uri="{FF2B5EF4-FFF2-40B4-BE49-F238E27FC236}">
                      <a16:creationId xmlns:a16="http://schemas.microsoft.com/office/drawing/2014/main" id="{166D15AE-2B0F-441F-AE30-93616AD72E9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2" name="Freeform 7">
                  <a:extLst>
                    <a:ext uri="{FF2B5EF4-FFF2-40B4-BE49-F238E27FC236}">
                      <a16:creationId xmlns:a16="http://schemas.microsoft.com/office/drawing/2014/main" id="{D59BC07B-6358-4347-90E3-5111237705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3" name="Oval 8">
                  <a:extLst>
                    <a:ext uri="{FF2B5EF4-FFF2-40B4-BE49-F238E27FC236}">
                      <a16:creationId xmlns:a16="http://schemas.microsoft.com/office/drawing/2014/main" id="{C0BBCCE4-E14C-4891-A519-3F5C8C7CA40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5" name="Group 4">
                <a:extLst>
                  <a:ext uri="{FF2B5EF4-FFF2-40B4-BE49-F238E27FC236}">
                    <a16:creationId xmlns:a16="http://schemas.microsoft.com/office/drawing/2014/main" id="{AECA6FB2-3569-4C8A-B0AD-C303E3ACE1B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6" name="Freeform 5">
                  <a:extLst>
                    <a:ext uri="{FF2B5EF4-FFF2-40B4-BE49-F238E27FC236}">
                      <a16:creationId xmlns:a16="http://schemas.microsoft.com/office/drawing/2014/main" id="{C962D0D7-0CAD-44AC-8BEC-2DE1321B517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7" name="Freeform 6">
                  <a:extLst>
                    <a:ext uri="{FF2B5EF4-FFF2-40B4-BE49-F238E27FC236}">
                      <a16:creationId xmlns:a16="http://schemas.microsoft.com/office/drawing/2014/main" id="{2156416E-E0D8-4A98-9B0E-8F64783036F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8" name="Freeform 7">
                  <a:extLst>
                    <a:ext uri="{FF2B5EF4-FFF2-40B4-BE49-F238E27FC236}">
                      <a16:creationId xmlns:a16="http://schemas.microsoft.com/office/drawing/2014/main" id="{5565C699-1C68-4111-92C6-4E7E1E13179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9" name="Oval 8">
                  <a:extLst>
                    <a:ext uri="{FF2B5EF4-FFF2-40B4-BE49-F238E27FC236}">
                      <a16:creationId xmlns:a16="http://schemas.microsoft.com/office/drawing/2014/main" id="{0396453D-2B5B-49E9-B03B-C6F38B956B3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6" name="Group 4">
                <a:extLst>
                  <a:ext uri="{FF2B5EF4-FFF2-40B4-BE49-F238E27FC236}">
                    <a16:creationId xmlns:a16="http://schemas.microsoft.com/office/drawing/2014/main" id="{0C4FD1FD-DF38-4AE5-A941-93A1DEA49A1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2" name="Freeform 5">
                  <a:extLst>
                    <a:ext uri="{FF2B5EF4-FFF2-40B4-BE49-F238E27FC236}">
                      <a16:creationId xmlns:a16="http://schemas.microsoft.com/office/drawing/2014/main" id="{9227D54A-DA3E-4E8E-B55E-EC61DED7BDA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3" name="Freeform 6">
                  <a:extLst>
                    <a:ext uri="{FF2B5EF4-FFF2-40B4-BE49-F238E27FC236}">
                      <a16:creationId xmlns:a16="http://schemas.microsoft.com/office/drawing/2014/main" id="{3D2580B2-3233-4A72-A8BA-749EBCC209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4" name="Freeform 7">
                  <a:extLst>
                    <a:ext uri="{FF2B5EF4-FFF2-40B4-BE49-F238E27FC236}">
                      <a16:creationId xmlns:a16="http://schemas.microsoft.com/office/drawing/2014/main" id="{8E76B529-5C6E-4833-9E71-AF33228C9E3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5" name="Oval 8">
                  <a:extLst>
                    <a:ext uri="{FF2B5EF4-FFF2-40B4-BE49-F238E27FC236}">
                      <a16:creationId xmlns:a16="http://schemas.microsoft.com/office/drawing/2014/main" id="{73C724B6-BF4F-47C3-B19A-48085D4E1AC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7" name="Group 4">
                <a:extLst>
                  <a:ext uri="{FF2B5EF4-FFF2-40B4-BE49-F238E27FC236}">
                    <a16:creationId xmlns:a16="http://schemas.microsoft.com/office/drawing/2014/main" id="{5BB6D903-01C9-4DA9-94C3-F1BB0CB1179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28" name="Freeform 5">
                  <a:extLst>
                    <a:ext uri="{FF2B5EF4-FFF2-40B4-BE49-F238E27FC236}">
                      <a16:creationId xmlns:a16="http://schemas.microsoft.com/office/drawing/2014/main" id="{3C3A5E97-FCE9-4FFF-B583-701D66F03C6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29" name="Freeform 6">
                  <a:extLst>
                    <a:ext uri="{FF2B5EF4-FFF2-40B4-BE49-F238E27FC236}">
                      <a16:creationId xmlns:a16="http://schemas.microsoft.com/office/drawing/2014/main" id="{C33F33B1-11EE-4149-9620-944BF2F0641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0" name="Freeform 7">
                  <a:extLst>
                    <a:ext uri="{FF2B5EF4-FFF2-40B4-BE49-F238E27FC236}">
                      <a16:creationId xmlns:a16="http://schemas.microsoft.com/office/drawing/2014/main" id="{C66A1406-4F78-410C-A80B-F693D2F779C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1" name="Oval 8">
                  <a:extLst>
                    <a:ext uri="{FF2B5EF4-FFF2-40B4-BE49-F238E27FC236}">
                      <a16:creationId xmlns:a16="http://schemas.microsoft.com/office/drawing/2014/main" id="{9D63C7A2-3ED5-485B-BAFA-D9E88EED3D5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27304C29-33A5-4E21-B703-9DB98C54A47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240653" y="2569895"/>
              <a:ext cx="607697" cy="604800"/>
              <a:chOff x="6710363" y="3908426"/>
              <a:chExt cx="333376" cy="331787"/>
            </a:xfrm>
            <a:solidFill>
              <a:srgbClr val="FFFFFF"/>
            </a:solidFill>
          </p:grpSpPr>
          <p:sp>
            <p:nvSpPr>
              <p:cNvPr id="217" name="Freeform 1149">
                <a:extLst>
                  <a:ext uri="{FF2B5EF4-FFF2-40B4-BE49-F238E27FC236}">
                    <a16:creationId xmlns:a16="http://schemas.microsoft.com/office/drawing/2014/main" id="{5A34C4D5-B543-47A5-A9A3-2A1148C9E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8" name="Freeform 1150">
                <a:extLst>
                  <a:ext uri="{FF2B5EF4-FFF2-40B4-BE49-F238E27FC236}">
                    <a16:creationId xmlns:a16="http://schemas.microsoft.com/office/drawing/2014/main" id="{E84DCE17-2F14-47DE-AEAE-675D8CD66A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9" name="Freeform 1151">
                <a:extLst>
                  <a:ext uri="{FF2B5EF4-FFF2-40B4-BE49-F238E27FC236}">
                    <a16:creationId xmlns:a16="http://schemas.microsoft.com/office/drawing/2014/main" id="{A5F1AB7F-4F78-4F88-B673-7FD114AA3B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696AB016-B86B-4518-A085-C4AE53410AB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673172" y="423745"/>
              <a:ext cx="607697" cy="604800"/>
              <a:chOff x="6710363" y="3908426"/>
              <a:chExt cx="333376" cy="331787"/>
            </a:xfrm>
            <a:solidFill>
              <a:srgbClr val="FFFFFF">
                <a:alpha val="26000"/>
              </a:srgbClr>
            </a:solidFill>
          </p:grpSpPr>
          <p:sp>
            <p:nvSpPr>
              <p:cNvPr id="214" name="Freeform 1149">
                <a:extLst>
                  <a:ext uri="{FF2B5EF4-FFF2-40B4-BE49-F238E27FC236}">
                    <a16:creationId xmlns:a16="http://schemas.microsoft.com/office/drawing/2014/main" id="{F1C167AC-F103-4B80-BE67-AC826BFC6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5" name="Freeform 1150">
                <a:extLst>
                  <a:ext uri="{FF2B5EF4-FFF2-40B4-BE49-F238E27FC236}">
                    <a16:creationId xmlns:a16="http://schemas.microsoft.com/office/drawing/2014/main" id="{5219C2D1-B85E-415A-AFD8-1E0FFE0BC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6" name="Freeform 1151">
                <a:extLst>
                  <a:ext uri="{FF2B5EF4-FFF2-40B4-BE49-F238E27FC236}">
                    <a16:creationId xmlns:a16="http://schemas.microsoft.com/office/drawing/2014/main" id="{ABD3B0C0-FFD3-47CC-93A2-CC7E26F0A2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24402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222444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06E89B-F1B0-48A4-8827-107446FBFBCE}" type="datetime3">
              <a:rPr lang="en-US" smtClean="0"/>
              <a:pPr/>
              <a:t>25 September 2025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255540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43404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B387FAC7-4495-4B53-B895-86075CD260E1}"/>
              </a:ext>
            </a:extLst>
          </p:cNvPr>
          <p:cNvGrpSpPr/>
          <p:nvPr userDrawn="1"/>
        </p:nvGrpSpPr>
        <p:grpSpPr>
          <a:xfrm>
            <a:off x="-15583" y="848925"/>
            <a:ext cx="12238748" cy="5088665"/>
            <a:chOff x="-11688" y="592243"/>
            <a:chExt cx="9179061" cy="381649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C303820-98FC-489A-AC81-8E95961FDFED}"/>
                </a:ext>
              </a:extLst>
            </p:cNvPr>
            <p:cNvSpPr/>
            <p:nvPr/>
          </p:nvSpPr>
          <p:spPr>
            <a:xfrm>
              <a:off x="0" y="623670"/>
              <a:ext cx="9144000" cy="3677661"/>
            </a:xfrm>
            <a:prstGeom prst="rect">
              <a:avLst/>
            </a:prstGeom>
            <a:solidFill>
              <a:srgbClr val="7FCEE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39D65B5-0DDF-445A-9308-D20097A47173}"/>
                </a:ext>
              </a:extLst>
            </p:cNvPr>
            <p:cNvGrpSpPr/>
            <p:nvPr/>
          </p:nvGrpSpPr>
          <p:grpSpPr>
            <a:xfrm>
              <a:off x="-4651" y="3426626"/>
              <a:ext cx="8833686" cy="283968"/>
              <a:chOff x="-4" y="806463"/>
              <a:chExt cx="7093002" cy="283968"/>
            </a:xfrm>
          </p:grpSpPr>
          <p:sp>
            <p:nvSpPr>
              <p:cNvPr id="96" name="Rectangle: Top Corners Rounded 95">
                <a:extLst>
                  <a:ext uri="{FF2B5EF4-FFF2-40B4-BE49-F238E27FC236}">
                    <a16:creationId xmlns:a16="http://schemas.microsoft.com/office/drawing/2014/main" id="{C53C6BA5-B65E-4B36-8DA0-19D643BE7BF9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Rectangle: Top Corners Rounded 96">
                <a:extLst>
                  <a:ext uri="{FF2B5EF4-FFF2-40B4-BE49-F238E27FC236}">
                    <a16:creationId xmlns:a16="http://schemas.microsoft.com/office/drawing/2014/main" id="{B01C1FAB-794A-40D0-9687-F12D0CFC63C1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Rectangle: Top Corners Rounded 97">
                <a:extLst>
                  <a:ext uri="{FF2B5EF4-FFF2-40B4-BE49-F238E27FC236}">
                    <a16:creationId xmlns:a16="http://schemas.microsoft.com/office/drawing/2014/main" id="{014B773D-A2BC-4C5A-B136-805A40F1A7C3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2C70583-4CFA-4154-9D98-BBBA2DF6EB90}"/>
                </a:ext>
              </a:extLst>
            </p:cNvPr>
            <p:cNvGrpSpPr/>
            <p:nvPr/>
          </p:nvGrpSpPr>
          <p:grpSpPr>
            <a:xfrm>
              <a:off x="-4" y="806463"/>
              <a:ext cx="7093002" cy="283968"/>
              <a:chOff x="-4" y="806463"/>
              <a:chExt cx="7093002" cy="283968"/>
            </a:xfrm>
          </p:grpSpPr>
          <p:sp>
            <p:nvSpPr>
              <p:cNvPr id="93" name="Rectangle: Top Corners Rounded 92">
                <a:extLst>
                  <a:ext uri="{FF2B5EF4-FFF2-40B4-BE49-F238E27FC236}">
                    <a16:creationId xmlns:a16="http://schemas.microsoft.com/office/drawing/2014/main" id="{BC131FFB-1600-4EF6-B921-4F282DC6376A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: Top Corners Rounded 93">
                <a:extLst>
                  <a:ext uri="{FF2B5EF4-FFF2-40B4-BE49-F238E27FC236}">
                    <a16:creationId xmlns:a16="http://schemas.microsoft.com/office/drawing/2014/main" id="{BA1F0F77-4A89-49A2-8776-0FC94FD588A6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Rectangle: Top Corners Rounded 94">
                <a:extLst>
                  <a:ext uri="{FF2B5EF4-FFF2-40B4-BE49-F238E27FC236}">
                    <a16:creationId xmlns:a16="http://schemas.microsoft.com/office/drawing/2014/main" id="{F5AA3177-1196-49AB-AE4A-BB72D9C6C9B7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BC120C7-35FF-44BC-880B-AA2A8A74B59B}"/>
                </a:ext>
              </a:extLst>
            </p:cNvPr>
            <p:cNvGrpSpPr/>
            <p:nvPr userDrawn="1"/>
          </p:nvGrpSpPr>
          <p:grpSpPr>
            <a:xfrm>
              <a:off x="-2" y="4268790"/>
              <a:ext cx="9167375" cy="47005"/>
              <a:chOff x="-2" y="4268790"/>
              <a:chExt cx="9167375" cy="47005"/>
            </a:xfrm>
          </p:grpSpPr>
          <p:sp>
            <p:nvSpPr>
              <p:cNvPr id="83" name="Rectangle: Top Corners Rounded 82">
                <a:extLst>
                  <a:ext uri="{FF2B5EF4-FFF2-40B4-BE49-F238E27FC236}">
                    <a16:creationId xmlns:a16="http://schemas.microsoft.com/office/drawing/2014/main" id="{C2D9C463-2D7B-4B73-9292-277873B0D9C7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Rectangle: Top Corners Rounded 83">
                <a:extLst>
                  <a:ext uri="{FF2B5EF4-FFF2-40B4-BE49-F238E27FC236}">
                    <a16:creationId xmlns:a16="http://schemas.microsoft.com/office/drawing/2014/main" id="{0EE219E3-9199-4C31-A43C-3E91A3E49DA9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C581041-F834-4D85-9B28-46EBF7B51596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00B1A3E0-9D5A-47E2-8EFD-06972183A758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7ECD1AD2-9EA9-457E-B675-F1EC07F3138F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38734299-9D49-49E9-B326-D9137D909143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77C6B17E-82EB-4222-BD61-78B9587A5811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04AC5795-F784-4E70-8C58-8DE355C80D03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48E3C2B3-EFB9-4662-A180-C3A571D87800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79F4F850-3391-4241-BE86-4D33EE9457FF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7EE94720-0AF1-4357-B8D5-23C20202DC95}"/>
                </a:ext>
              </a:extLst>
            </p:cNvPr>
            <p:cNvSpPr/>
            <p:nvPr userDrawn="1"/>
          </p:nvSpPr>
          <p:spPr>
            <a:xfrm>
              <a:off x="7728746" y="837813"/>
              <a:ext cx="1162393" cy="1065190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9CA44E7B-692C-40F6-8B4C-B5CB1803D2CE}"/>
                </a:ext>
              </a:extLst>
            </p:cNvPr>
            <p:cNvSpPr/>
            <p:nvPr userDrawn="1"/>
          </p:nvSpPr>
          <p:spPr>
            <a:xfrm>
              <a:off x="7548886" y="1653708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15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401C85DF-517D-4818-B624-F039DCF32CB9}"/>
                </a:ext>
              </a:extLst>
            </p:cNvPr>
            <p:cNvSpPr/>
            <p:nvPr userDrawn="1"/>
          </p:nvSpPr>
          <p:spPr>
            <a:xfrm>
              <a:off x="317089" y="391730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E079FB0F-2E61-4781-97A8-D41A27D2D8F7}"/>
                </a:ext>
              </a:extLst>
            </p:cNvPr>
            <p:cNvGrpSpPr/>
            <p:nvPr userDrawn="1"/>
          </p:nvGrpSpPr>
          <p:grpSpPr>
            <a:xfrm>
              <a:off x="565829" y="712444"/>
              <a:ext cx="6973489" cy="2067177"/>
              <a:chOff x="-6255456" y="862020"/>
              <a:chExt cx="6973489" cy="2067177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6C078611-63CB-491B-B8AA-0B8BA5CA889F}"/>
                  </a:ext>
                </a:extLst>
              </p:cNvPr>
              <p:cNvSpPr/>
              <p:nvPr userDrawn="1"/>
            </p:nvSpPr>
            <p:spPr>
              <a:xfrm>
                <a:off x="361298" y="2720664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4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58BFC2A8-6A29-4478-A218-7FA2B681E39E}"/>
                  </a:ext>
                </a:extLst>
              </p:cNvPr>
              <p:cNvSpPr/>
              <p:nvPr userDrawn="1"/>
            </p:nvSpPr>
            <p:spPr>
              <a:xfrm>
                <a:off x="490471" y="2589978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8AF6E614-E243-47E3-BE86-AF3ECE579FD7}"/>
                  </a:ext>
                </a:extLst>
              </p:cNvPr>
              <p:cNvSpPr/>
              <p:nvPr userDrawn="1"/>
            </p:nvSpPr>
            <p:spPr>
              <a:xfrm>
                <a:off x="-6255456" y="862020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06BEF2CB-CA82-4E7C-BAF6-3E314BA5ED20}"/>
                </a:ext>
              </a:extLst>
            </p:cNvPr>
            <p:cNvSpPr/>
            <p:nvPr userDrawn="1"/>
          </p:nvSpPr>
          <p:spPr>
            <a:xfrm>
              <a:off x="4044730" y="1194647"/>
              <a:ext cx="138367" cy="135616"/>
            </a:xfrm>
            <a:prstGeom prst="roundRect">
              <a:avLst>
                <a:gd name="adj" fmla="val 24179"/>
              </a:avLst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0C83B8EC-009F-4B4A-90A7-B92D80A505BE}"/>
                </a:ext>
              </a:extLst>
            </p:cNvPr>
            <p:cNvSpPr/>
            <p:nvPr userDrawn="1"/>
          </p:nvSpPr>
          <p:spPr>
            <a:xfrm>
              <a:off x="7897238" y="3106680"/>
              <a:ext cx="138367" cy="126797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2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04A7036-5B44-42B7-966C-B0FF1CF7BDFA}"/>
                </a:ext>
              </a:extLst>
            </p:cNvPr>
            <p:cNvGrpSpPr/>
            <p:nvPr userDrawn="1"/>
          </p:nvGrpSpPr>
          <p:grpSpPr>
            <a:xfrm flipH="1">
              <a:off x="-11688" y="592243"/>
              <a:ext cx="9167375" cy="47005"/>
              <a:chOff x="-2" y="4268790"/>
              <a:chExt cx="9167375" cy="47005"/>
            </a:xfrm>
          </p:grpSpPr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id="{BE893962-00AD-4326-B5D9-6102F6B30598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Rectangle: Top Corners Rounded 70">
                <a:extLst>
                  <a:ext uri="{FF2B5EF4-FFF2-40B4-BE49-F238E27FC236}">
                    <a16:creationId xmlns:a16="http://schemas.microsoft.com/office/drawing/2014/main" id="{AFB8A1B6-0F78-4738-BC4F-1B7488ED4088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66815D7-D9A8-4BE3-A498-2D774EC5E2BA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13EC61EA-18EA-4B81-B8F0-E7368A056B13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11B24DD3-B389-4208-91EC-3A3814BAFFCB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B7B1FFDC-F643-40BE-8468-9725F8D6C771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E5EE4C3A-3FD5-4DE1-AA88-44C4A85014D2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B1562EEE-F250-481F-A686-BB8D3F291D2A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FDAF47BC-F8FC-48FF-8F8C-5056D93BEC83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63A5196B-659A-449B-82EA-3296DED56E5D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id="{76A52E9F-5B7B-41FC-B16A-57E2C4BF4115}"/>
                </a:ext>
              </a:extLst>
            </p:cNvPr>
            <p:cNvSpPr/>
            <p:nvPr userDrawn="1"/>
          </p:nvSpPr>
          <p:spPr>
            <a:xfrm rot="5400000">
              <a:off x="2640683" y="-1083883"/>
              <a:ext cx="1484008" cy="6774682"/>
            </a:xfrm>
            <a:prstGeom prst="round2SameRect">
              <a:avLst>
                <a:gd name="adj1" fmla="val 10249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0D1F6480-9AA2-481F-BF5E-E537B795E7BF}"/>
                </a:ext>
              </a:extLst>
            </p:cNvPr>
            <p:cNvSpPr/>
            <p:nvPr userDrawn="1"/>
          </p:nvSpPr>
          <p:spPr>
            <a:xfrm>
              <a:off x="6162867" y="356575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2" y="2123633"/>
            <a:ext cx="8284205" cy="1337767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2" y="3568191"/>
            <a:ext cx="8284205" cy="661856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5 September 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63878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3F25DEB1-9082-41D4-925C-113F57199754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id&quot;:&quot;700a8faa-b58a-4b99-819f-a7f3960b569f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1823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5F5319-D51F-4DBA-A0E1-97AB58098185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351" dirty="0">
              <a:latin typeface="Apis For Office" panose="020B0504010101010104" pitchFamily="34" charset="0"/>
            </a:endParaRPr>
          </a:p>
        </p:txBody>
      </p:sp>
      <p:sp>
        <p:nvSpPr>
          <p:cNvPr id="6" name="Tagline" descr="{&quot;templafy&quot;:{&quot;id&quot;:&quot;8b7bd7f1-2abb-4aba-8fa3-6bed6534d10c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40570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CA27F7B4-F98D-4CAF-BB7C-3984BBCDBD89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957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871100-7668-411B-B68C-7B09658A607B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  <a:latin typeface="Apis For Office" panose="020B0504010101010104" pitchFamily="34" charset="0"/>
              </a:rPr>
              <a:t>Agenda</a:t>
            </a:r>
          </a:p>
        </p:txBody>
      </p:sp>
      <p:sp>
        <p:nvSpPr>
          <p:cNvPr id="5" name="Tagline" descr="{&quot;templafy&quot;:{&quot;id&quot;:&quot;a6a0294e-5049-4413-9e6f-1ecdf818f736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41120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262655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756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A96055-F41A-411B-AC3E-55CE92C9BB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1630133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206149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6E89B-F1B0-48A4-8827-107446FBFBCE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78120821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45532787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21A7-F4E2-460A-A8FB-942CCEE5185E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56723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EE2340-579E-4220-A93B-3AFD39A8D022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98185720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DC46D-D10D-4B61-A892-8C0001048907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id&quot;:&quot;173913be-1100-48d2-aff0-9c93648545a2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65198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65D2-4706-45DF-B68A-6AB31D8D1B2D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0518519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52468-20E3-462E-9717-778AD7EDB57C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1345267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D752CB-4586-4ED8-8DDC-9B3317D94291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74367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5D3A1-1237-4E3F-81F8-A718F0128939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7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F3AB-868B-4293-B3DE-7B045891B11B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75219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  <a:latin typeface="Apis For Office" panose="020B0504010101010104" pitchFamily="34" charset="0"/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2800" b="0" noProof="0" dirty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o not use </a:t>
            </a:r>
            <a:endParaRPr lang="en-GB" sz="2400" b="1" i="1" dirty="0">
              <a:latin typeface="Apis For Office" panose="020B0504010101010104" pitchFamily="34" charset="0"/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1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1800" b="0" noProof="0" dirty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F65B27A-09D4-4045-A1E1-7A255ABBF5A9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86762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69" y="6401379"/>
            <a:ext cx="11418233" cy="230716"/>
          </a:xfrm>
        </p:spPr>
        <p:txBody>
          <a:bodyPr lIns="72000" anchor="b"/>
          <a:lstStyle>
            <a:lvl1pPr marL="0" indent="0">
              <a:buNone/>
              <a:defRPr sz="1067"/>
            </a:lvl1pPr>
            <a:lvl2pPr marL="353466" indent="0">
              <a:buNone/>
              <a:defRPr sz="1067"/>
            </a:lvl2pPr>
            <a:lvl3pPr marL="715397" indent="0">
              <a:buNone/>
              <a:defRPr sz="1067"/>
            </a:lvl3pPr>
            <a:lvl4pPr marL="1077330" indent="0">
              <a:buNone/>
              <a:defRPr sz="1067"/>
            </a:lvl4pPr>
            <a:lvl5pPr marL="1430795" indent="0">
              <a:buNone/>
              <a:defRPr sz="1067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05EA8DB4-D7E0-43E4-83A9-B402A9644AC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11433388" y="139701"/>
            <a:ext cx="558816" cy="185419"/>
          </a:xfrm>
          <a:prstGeom prst="rect">
            <a:avLst/>
          </a:prstGeom>
          <a:ln/>
        </p:spPr>
        <p:txBody>
          <a:bodyPr/>
          <a:lstStyle>
            <a:lvl1pPr algn="r">
              <a:defRPr sz="1067">
                <a:solidFill>
                  <a:srgbClr val="AEA79F"/>
                </a:solidFill>
              </a:defRPr>
            </a:lvl1pPr>
          </a:lstStyle>
          <a:p>
            <a:pPr>
              <a:defRPr/>
            </a:pPr>
            <a:fld id="{198D2DA1-799D-4AB3-8D6A-C84E9B4FB822}" type="slidenum">
              <a:rPr lang="en-GB" smtClean="0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243887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E041C0BA-34B2-4E53-98B1-5DF02B255F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12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9291706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5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66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39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3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79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79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60085755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3175062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23356" y="6019899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id="{511C5657-CE8B-4E35-A4DF-CC134804A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09487"/>
            <a:ext cx="12192001" cy="48654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C1E3701-DED0-4985-AB18-8992814566DA}"/>
              </a:ext>
            </a:extLst>
          </p:cNvPr>
          <p:cNvGrpSpPr/>
          <p:nvPr userDrawn="1"/>
        </p:nvGrpSpPr>
        <p:grpSpPr>
          <a:xfrm>
            <a:off x="10645304" y="5581707"/>
            <a:ext cx="1279789" cy="929189"/>
            <a:chOff x="7983978" y="4186280"/>
            <a:chExt cx="959842" cy="696892"/>
          </a:xfrm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9B218A25-6A87-47B7-A079-F869E70337C2}"/>
                </a:ext>
              </a:extLst>
            </p:cNvPr>
            <p:cNvGrpSpPr/>
            <p:nvPr userDrawn="1"/>
          </p:nvGrpSpPr>
          <p:grpSpPr>
            <a:xfrm rot="21057248">
              <a:off x="7983978" y="4186280"/>
              <a:ext cx="598849" cy="338677"/>
              <a:chOff x="3925596" y="3102305"/>
              <a:chExt cx="1061639" cy="600407"/>
            </a:xfrm>
          </p:grpSpPr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1870F5C4-739E-4C9C-AF68-1728FF7D45A9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BDD48BE0-C559-4C2F-A393-F30E7618598A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77216F4F-7C6B-4E67-9D75-DEC8765060E2}"/>
                </a:ext>
              </a:extLst>
            </p:cNvPr>
            <p:cNvGrpSpPr/>
            <p:nvPr userDrawn="1"/>
          </p:nvGrpSpPr>
          <p:grpSpPr>
            <a:xfrm rot="2701796">
              <a:off x="8534965" y="4410195"/>
              <a:ext cx="522316" cy="295394"/>
              <a:chOff x="3925596" y="3102305"/>
              <a:chExt cx="1061639" cy="600407"/>
            </a:xfrm>
          </p:grpSpPr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DA607A84-025E-4337-8CA5-96DB72F9BFCE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007C92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6176D660-C691-4E15-AC04-E9757CD47781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090122C7-1C2C-457B-A890-1F1F601C0AD4}"/>
                </a:ext>
              </a:extLst>
            </p:cNvPr>
            <p:cNvGrpSpPr/>
            <p:nvPr userDrawn="1"/>
          </p:nvGrpSpPr>
          <p:grpSpPr>
            <a:xfrm rot="18904393">
              <a:off x="8249788" y="4675033"/>
              <a:ext cx="368031" cy="208139"/>
              <a:chOff x="3925596" y="3102305"/>
              <a:chExt cx="1061639" cy="600407"/>
            </a:xfrm>
          </p:grpSpPr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43D3CFEB-360E-456A-9FE5-A156E0698BBD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72B5CC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DA4C7121-1C62-4C33-A0A5-D474FA4B59A2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6A181B69-CB8D-4DAD-AF6F-80BA5A3B7901}"/>
              </a:ext>
            </a:extLst>
          </p:cNvPr>
          <p:cNvSpPr txBox="1"/>
          <p:nvPr userDrawn="1"/>
        </p:nvSpPr>
        <p:spPr>
          <a:xfrm>
            <a:off x="745066" y="4110204"/>
            <a:ext cx="10701869" cy="1655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CA" sz="5333" b="1" dirty="0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E41ED8-2D13-4B3E-B415-71ADF40E0573}"/>
              </a:ext>
            </a:extLst>
          </p:cNvPr>
          <p:cNvSpPr/>
          <p:nvPr userDrawn="1"/>
        </p:nvSpPr>
        <p:spPr>
          <a:xfrm>
            <a:off x="0" y="0"/>
            <a:ext cx="12192000" cy="381003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0000">
                <a:schemeClr val="bg1">
                  <a:alpha val="10000"/>
                </a:schemeClr>
              </a:gs>
              <a:gs pos="59000">
                <a:schemeClr val="bg1">
                  <a:alpha val="50000"/>
                </a:schemeClr>
              </a:gs>
              <a:gs pos="91000">
                <a:schemeClr val="bg1">
                  <a:alpha val="8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89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2FB8311-43F9-419F-9FE3-E1D7801A1F9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45066" y="1392472"/>
            <a:ext cx="10701869" cy="1937489"/>
          </a:xfrm>
        </p:spPr>
        <p:txBody>
          <a:bodyPr tIns="57575" anchor="b"/>
          <a:lstStyle>
            <a:lvl1pPr algn="l">
              <a:lnSpc>
                <a:spcPct val="90000"/>
              </a:lnSpc>
              <a:defRPr sz="6400" spc="-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5AB618-3B81-4D6E-BF4D-FF98D6A8875F}"/>
              </a:ext>
            </a:extLst>
          </p:cNvPr>
          <p:cNvCxnSpPr>
            <a:cxnSpLocks/>
          </p:cNvCxnSpPr>
          <p:nvPr userDrawn="1"/>
        </p:nvCxnSpPr>
        <p:spPr>
          <a:xfrm>
            <a:off x="-1" y="3471727"/>
            <a:ext cx="11579423" cy="0"/>
          </a:xfrm>
          <a:prstGeom prst="line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AAB4F1E0-69A7-42D9-9BF6-5E933A26C55F}"/>
              </a:ext>
            </a:extLst>
          </p:cNvPr>
          <p:cNvCxnSpPr>
            <a:cxnSpLocks/>
          </p:cNvCxnSpPr>
          <p:nvPr userDrawn="1"/>
        </p:nvCxnSpPr>
        <p:spPr>
          <a:xfrm>
            <a:off x="-2" y="3566244"/>
            <a:ext cx="11737019" cy="0"/>
          </a:xfrm>
          <a:prstGeom prst="line">
            <a:avLst/>
          </a:prstGeom>
          <a:ln w="381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6DBC1E5-8E02-4635-BBB6-C0E75048B10B}"/>
              </a:ext>
            </a:extLst>
          </p:cNvPr>
          <p:cNvCxnSpPr>
            <a:cxnSpLocks/>
          </p:cNvCxnSpPr>
          <p:nvPr userDrawn="1"/>
        </p:nvCxnSpPr>
        <p:spPr>
          <a:xfrm>
            <a:off x="-1" y="3660761"/>
            <a:ext cx="11894615" cy="0"/>
          </a:xfrm>
          <a:prstGeom prst="line">
            <a:avLst/>
          </a:prstGeom>
          <a:ln w="38100" cap="rnd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0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212721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5055261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1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2441740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6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7" y="4033951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1552273"/>
      </p:ext>
    </p:extLst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4993386"/>
      </p:ext>
    </p:extLst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5245906"/>
      </p:ext>
    </p:extLst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8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50261065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680893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4268" y="6301366"/>
            <a:ext cx="11345333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  <a:lvl2pPr marL="353194" indent="0">
              <a:buNone/>
              <a:defRPr sz="1200"/>
            </a:lvl2pPr>
            <a:lvl3pPr marL="714785" indent="0">
              <a:buNone/>
              <a:defRPr sz="1200"/>
            </a:lvl3pPr>
            <a:lvl4pPr marL="1076424" indent="0">
              <a:buNone/>
              <a:defRPr sz="1200"/>
            </a:lvl4pPr>
            <a:lvl5pPr marL="1429571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2399244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 marL="715379" indent="-361926">
              <a:buClr>
                <a:schemeClr val="accent1"/>
              </a:buClr>
              <a:buFont typeface="Verdana" panose="020B0604030504040204" pitchFamily="34" charset="0"/>
              <a:buChar char="–"/>
              <a:defRPr>
                <a:solidFill>
                  <a:schemeClr val="accent2"/>
                </a:solidFill>
              </a:defRPr>
            </a:lvl2pPr>
            <a:lvl3pPr marL="1077304" indent="-361926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accent2"/>
                </a:solidFill>
              </a:defRPr>
            </a:lvl3pPr>
            <a:lvl4pPr>
              <a:buClr>
                <a:srgbClr val="C00000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C00000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6599278"/>
            <a:ext cx="12192000" cy="258726"/>
          </a:xfrm>
        </p:spPr>
        <p:txBody>
          <a:bodyPr lIns="90000" tIns="46800" rIns="90000" bIns="46800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22400" y="6303287"/>
            <a:ext cx="11347200" cy="258726"/>
          </a:xfrm>
        </p:spPr>
        <p:txBody>
          <a:bodyPr wrap="square" lIns="90000" tIns="46800" rIns="90000" bIns="46800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606017058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39290067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4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74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41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5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831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113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38512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2362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17211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28524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63374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61479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3274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3155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34265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958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821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125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49008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868817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81411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183410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923033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r>
              <a:rPr lang="en-GB" sz="900" dirty="0">
                <a:latin typeface="+mn-lt"/>
                <a:cs typeface="Arial" panose="020B0604020202020204" pitchFamily="34" charset="0"/>
              </a:rPr>
              <a:t/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127" b="11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-494" b="741"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170250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4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74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41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5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831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01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7F1587F-A3A9-4162-BF6A-9EBEDB3CA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90A3D53-4311-45F3-92CC-F8266EC1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49CEE86-AA83-4D79-9C85-1131AE20C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1C380-8D3F-4E0E-BA60-FBEE8878E607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5684F10-7620-4D46-900B-278CDC63C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A826F1F-273B-44F2-9503-8C045EE77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310DE-78FA-45AD-8177-B94DC6764B0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2202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233CF4-4C78-492C-9EB1-03E5FAA956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951" y="-3640382"/>
            <a:ext cx="7869287" cy="8862549"/>
          </a:xfrm>
          <a:custGeom>
            <a:avLst/>
            <a:gdLst>
              <a:gd name="connsiteX0" fmla="*/ 8394311 w 16796661"/>
              <a:gd name="connsiteY0" fmla="*/ 0 h 18911283"/>
              <a:gd name="connsiteX1" fmla="*/ 16796661 w 16796661"/>
              <a:gd name="connsiteY1" fmla="*/ 10874282 h 18911283"/>
              <a:gd name="connsiteX2" fmla="*/ 8028508 w 16796661"/>
              <a:gd name="connsiteY2" fmla="*/ 18888655 h 18911283"/>
              <a:gd name="connsiteX3" fmla="*/ 128675 w 16796661"/>
              <a:gd name="connsiteY3" fmla="*/ 10090945 h 18911283"/>
              <a:gd name="connsiteX4" fmla="*/ 8394311 w 16796661"/>
              <a:gd name="connsiteY4" fmla="*/ 0 h 1891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96661" h="18911283">
                <a:moveTo>
                  <a:pt x="8394311" y="0"/>
                </a:moveTo>
                <a:cubicBezTo>
                  <a:pt x="15278029" y="0"/>
                  <a:pt x="16796661" y="6015400"/>
                  <a:pt x="16796661" y="10874282"/>
                </a:cubicBezTo>
                <a:cubicBezTo>
                  <a:pt x="16796661" y="15736854"/>
                  <a:pt x="13585737" y="18463735"/>
                  <a:pt x="8028508" y="18888655"/>
                </a:cubicBezTo>
                <a:cubicBezTo>
                  <a:pt x="3184409" y="19265545"/>
                  <a:pt x="985907" y="14875924"/>
                  <a:pt x="128675" y="10090945"/>
                </a:cubicBezTo>
                <a:cubicBezTo>
                  <a:pt x="-809850" y="4851487"/>
                  <a:pt x="3531736" y="0"/>
                  <a:pt x="8394311" y="0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CB51667-CE6B-4B57-B0AF-E880DEE9D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69488" y="-3168628"/>
            <a:ext cx="8324150" cy="7921167"/>
          </a:xfrm>
          <a:custGeom>
            <a:avLst/>
            <a:gdLst>
              <a:gd name="connsiteX0" fmla="*/ 9530843 w 16553206"/>
              <a:gd name="connsiteY0" fmla="*/ 207 h 15751843"/>
              <a:gd name="connsiteX1" fmla="*/ 15953080 w 16553206"/>
              <a:gd name="connsiteY1" fmla="*/ 3417471 h 15751843"/>
              <a:gd name="connsiteX2" fmla="*/ 11205904 w 16553206"/>
              <a:gd name="connsiteY2" fmla="*/ 13417870 h 15751843"/>
              <a:gd name="connsiteX3" fmla="*/ 420622 w 16553206"/>
              <a:gd name="connsiteY3" fmla="*/ 11607126 h 15751843"/>
              <a:gd name="connsiteX4" fmla="*/ 4214232 w 16553206"/>
              <a:gd name="connsiteY4" fmla="*/ 945772 h 15751843"/>
              <a:gd name="connsiteX5" fmla="*/ 9530843 w 16553206"/>
              <a:gd name="connsiteY5" fmla="*/ 207 h 15751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553206" h="15751843">
                <a:moveTo>
                  <a:pt x="9530843" y="207"/>
                </a:moveTo>
                <a:cubicBezTo>
                  <a:pt x="12406252" y="16680"/>
                  <a:pt x="14924640" y="1018494"/>
                  <a:pt x="15953080" y="3417471"/>
                </a:cubicBezTo>
                <a:cubicBezTo>
                  <a:pt x="17884312" y="7930559"/>
                  <a:pt x="14848046" y="10147514"/>
                  <a:pt x="11205904" y="13417870"/>
                </a:cubicBezTo>
                <a:cubicBezTo>
                  <a:pt x="6672162" y="17493762"/>
                  <a:pt x="1023055" y="15810392"/>
                  <a:pt x="420622" y="11607126"/>
                </a:cubicBezTo>
                <a:cubicBezTo>
                  <a:pt x="-329838" y="6378003"/>
                  <a:pt x="-591468" y="2636030"/>
                  <a:pt x="4214232" y="945772"/>
                </a:cubicBezTo>
                <a:cubicBezTo>
                  <a:pt x="5951823" y="335163"/>
                  <a:pt x="7805597" y="-9676"/>
                  <a:pt x="9530843" y="207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E6E2CCC-0CEC-4741-988A-3098B343B9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41787" y="-3321556"/>
            <a:ext cx="8379542" cy="8227016"/>
          </a:xfrm>
          <a:custGeom>
            <a:avLst/>
            <a:gdLst>
              <a:gd name="connsiteX0" fmla="*/ 8164896 w 16503872"/>
              <a:gd name="connsiteY0" fmla="*/ 1666 h 16203465"/>
              <a:gd name="connsiteX1" fmla="*/ 13391981 w 16503872"/>
              <a:gd name="connsiteY1" fmla="*/ 2354611 h 16203465"/>
              <a:gd name="connsiteX2" fmla="*/ 13821581 w 16503872"/>
              <a:gd name="connsiteY2" fmla="*/ 13476518 h 16203465"/>
              <a:gd name="connsiteX3" fmla="*/ 2072321 w 16503872"/>
              <a:gd name="connsiteY3" fmla="*/ 13947034 h 16203465"/>
              <a:gd name="connsiteX4" fmla="*/ 2951981 w 16503872"/>
              <a:gd name="connsiteY4" fmla="*/ 2514861 h 16203465"/>
              <a:gd name="connsiteX5" fmla="*/ 8164896 w 16503872"/>
              <a:gd name="connsiteY5" fmla="*/ 1666 h 1620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503872" h="16203465">
                <a:moveTo>
                  <a:pt x="8164896" y="1666"/>
                </a:moveTo>
                <a:cubicBezTo>
                  <a:pt x="10016253" y="-43791"/>
                  <a:pt x="11745493" y="843974"/>
                  <a:pt x="13391981" y="2354611"/>
                </a:cubicBezTo>
                <a:cubicBezTo>
                  <a:pt x="16487837" y="5201576"/>
                  <a:pt x="18291483" y="9934009"/>
                  <a:pt x="13821581" y="13476518"/>
                </a:cubicBezTo>
                <a:cubicBezTo>
                  <a:pt x="9927890" y="16565557"/>
                  <a:pt x="4479454" y="17434988"/>
                  <a:pt x="2072321" y="13947034"/>
                </a:cubicBezTo>
                <a:cubicBezTo>
                  <a:pt x="-914433" y="9623743"/>
                  <a:pt x="-716679" y="5900529"/>
                  <a:pt x="2951981" y="2514861"/>
                </a:cubicBezTo>
                <a:cubicBezTo>
                  <a:pt x="4802721" y="808441"/>
                  <a:pt x="6531345" y="41775"/>
                  <a:pt x="8164896" y="1666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5E75851E-23A1-4C48-97F1-760DAC4407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313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30000" fill="hold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30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30000" fill="hold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130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130000" fill="hold"/>
                                        <p:tgtEl>
                                          <p:spTgt spid="32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130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uiExpand="1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1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1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27" grpId="0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32" grpId="0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3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3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574CBD7-F701-4DC9-AE09-9BF74A32FEC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FBF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accent1"/>
              </a:solidFill>
            </a:endParaRPr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7D30ABB2-8FAA-4CBA-87AD-585199914103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346208EC-9F59-4CED-AA4A-5990ED520C94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1B85B4DB-2CAB-4140-8094-171CC87D5959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0" name="Footer Placeholder 35">
            <a:extLst>
              <a:ext uri="{FF2B5EF4-FFF2-40B4-BE49-F238E27FC236}">
                <a16:creationId xmlns:a16="http://schemas.microsoft.com/office/drawing/2014/main" id="{097D715A-4F40-4522-BD3D-F39A3B63A5A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08423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56A908E-B883-4664-B8E5-DB8A12151AF2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387FCCE4-7820-4B00-A355-AF049DD3B03D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876BB0D-9819-428D-8855-ABA28F52BBC2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id="{B78DA284-8AAE-4040-B6A6-875686CEEE10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E436E989-0025-4B7D-B060-5BA1B6FA95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0172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FD7C30E-4CCC-4032-BE6C-2D8718E3C728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2C47F26D-3D77-4885-94D0-6D65240E7DD6}"/>
              </a:ext>
            </a:extLst>
          </p:cNvPr>
          <p:cNvSpPr/>
          <p:nvPr userDrawn="1"/>
        </p:nvSpPr>
        <p:spPr>
          <a:xfrm>
            <a:off x="6096000" y="-4474863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2B71477A-8921-4897-A581-38B4641F4291}"/>
              </a:ext>
            </a:extLst>
          </p:cNvPr>
          <p:cNvSpPr/>
          <p:nvPr userDrawn="1"/>
        </p:nvSpPr>
        <p:spPr>
          <a:xfrm>
            <a:off x="5868601" y="-4005335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B8AA12DA-F5BE-4776-A8AE-1BA75EA5F1D2}"/>
              </a:ext>
            </a:extLst>
          </p:cNvPr>
          <p:cNvSpPr/>
          <p:nvPr userDrawn="1"/>
        </p:nvSpPr>
        <p:spPr>
          <a:xfrm>
            <a:off x="5840909" y="-4158268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08E019C7-C66E-4371-91E8-5461DC3EAA6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160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3286AD5C-B644-40F2-8DCC-728A739A7327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F5808731-0EA6-44D4-8463-177025B2D6D0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DF70A315-72E0-4A1B-98D4-F0E675B95A15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id="{52F67F48-F557-483F-98B2-EB0DCF94AAB0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D4F36ACB-821E-4849-8A67-F3B40888302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4103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E124496-95AB-4923-B97A-C7108DE8241A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F5F4E406-1928-4A4C-BBAE-0016EA13F4A6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54C1001B-7CCB-497B-A2E2-423C699DFF6E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202144B8-BCBF-4FA0-92EC-004F6721D2D2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5DC376F9-7F58-4B14-93BA-302032816E3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986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13738BF-7751-4505-88C9-A788718FD8E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22E1CAF1-8708-4E8E-AAD9-DAA79D13D5B2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9F58E766-6C42-4F9F-9E5B-7BF45D86361B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id="{391EE221-2462-458A-BBF4-4E91C16D6E88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2DD5B5D8-0B8D-498F-892F-BE2E6B35CFF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026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B45C6BB-C85F-4D74-BC7C-40DC0F0FA75A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F1636F79-36F7-4245-8F4F-4AD923F28841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CCC5BD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B0121AD2-A308-4EBE-885D-7C618B5F802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36DD2508-845F-423B-AB8A-D73AE484696E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85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C101607-9FE5-4D71-9736-FD031EB06487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92CB383D-4DCF-4F50-925A-B870F748A06F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939AA7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21D54DB8-ABE9-4785-A48D-CB968039140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AB48186-3BB1-4358-ABC1-D82659084B3A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296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CA33B66-EC28-4615-8C7C-F8829B25FB5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6D181E82-0B96-4BC0-9BD4-F480EB922401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41F49441-A4D6-42D8-B8A2-AA3C616F95CE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6825D3BC-C7B0-4428-9328-070771A86638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24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1E11B5A-458F-4700-B2C1-680A51774639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798F3A66-064A-4017-8BA7-BD9C55A475E2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1EA51F35-7EC6-41F2-B03D-F5B57791AC15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E579C944-4D77-4486-9B73-7B848E1C44F1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351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AAF154-BC7D-4823-8D50-EB19F14863D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0486E305-7C1F-4509-B86E-91745FBAECAB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5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6AA413DA-7F8C-4CE6-933C-23BBB7D73A78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1B9E8F93-F150-4649-885C-9F2830076881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1122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3D24FA1-BF27-40F2-86F6-844F66B254F9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281E81E1-8867-4524-8565-27D5D2EEA68D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005AD2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4342AD62-2C0A-44C2-A183-90F6EAA2CBB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D54CF526-ADAD-4CDB-A33B-28FD2EF77478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34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5274E13-D632-4767-A7A9-5E46D94D7177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1149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04BBBBA-044B-42E9-B1A2-EA93742EC0EB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061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F1E8EA8-3404-4B36-97CD-3E857ED82FE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2303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451A77A-70A2-49E1-B7B7-BC81C75AE27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232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AE96E7-5BC8-4E3B-AAF0-50686EE84AA1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4295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13F9F7-1EC0-4264-8020-93E9EE477642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083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2" b="77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08A0AA-DA31-4CB4-A413-A3331787328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8525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19BD0BA-5ECD-413C-A8EC-76D2A51BFDA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3815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21DC0D-78F8-4F7A-AC4F-93DA77B45DC1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1031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61708FD-7106-496D-962F-6709BD8DD694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9922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7756544-ED94-4D2D-8904-7FE9C1A1A16F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BF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3BD5F5CB-78F7-4FFD-BF72-78E02FF87658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3BB8542E-5B66-4466-8F70-AF784E8CF9A6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4E3C8DE8-2EA9-43FD-970C-75E607CCABF7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2223122D-4A8B-4F14-8F17-F18BCBB4824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074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6D4D06F-1F9C-48BB-A971-1E1CDB95627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3A8E72F3-B2BD-4E98-9EDA-D94CC1EAEE82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5A29B7F1-DBBE-4254-AB18-9C565F9D035B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27C88592-69A6-45F9-B308-113DC3052292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DEBFC4FA-7EFF-4F7B-AED0-0A304CCBA3B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30241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0C52A1B-D3DA-4727-87EB-5931A61937F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4FDC07FA-AB24-4D33-BBB4-AE8F1EC23A23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AA92FE16-2C54-4703-BE5E-8433D7E0321E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03FB23AA-E32D-4929-9047-E9F982DE5424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7EF08B5D-B2BF-4069-B4D7-C190286EE76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532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0CFFBBF-F0BB-4EEF-99F5-812B75979191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7C2D375D-7F1B-4BB1-AFBA-C8C311DD35B4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id="{EBAD58AF-AD9F-4A26-845A-166380352259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46704FC2-F4ED-462B-AB20-85539134CD19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id="{E7C60B01-F5F5-4AC2-B3EA-20192A4981A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7870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D68D099-60A9-4518-8617-F25D8C1193BB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Graphic 7">
            <a:extLst>
              <a:ext uri="{FF2B5EF4-FFF2-40B4-BE49-F238E27FC236}">
                <a16:creationId xmlns:a16="http://schemas.microsoft.com/office/drawing/2014/main" id="{0BECCC14-D1EA-484A-AE02-4F3DA7743DEA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" name="Graphic 7">
            <a:extLst>
              <a:ext uri="{FF2B5EF4-FFF2-40B4-BE49-F238E27FC236}">
                <a16:creationId xmlns:a16="http://schemas.microsoft.com/office/drawing/2014/main" id="{B75141A2-EB70-4A7B-8D3D-17FE9F139B3B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6" name="Graphic 7">
            <a:extLst>
              <a:ext uri="{FF2B5EF4-FFF2-40B4-BE49-F238E27FC236}">
                <a16:creationId xmlns:a16="http://schemas.microsoft.com/office/drawing/2014/main" id="{7DD93476-330F-4CF4-9787-418A64D2EAD7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7" name="Footer Placeholder 35">
            <a:extLst>
              <a:ext uri="{FF2B5EF4-FFF2-40B4-BE49-F238E27FC236}">
                <a16:creationId xmlns:a16="http://schemas.microsoft.com/office/drawing/2014/main" id="{165F00E5-F844-4325-A307-7438AAB5F0F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55585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B1BD2B3-EF73-4B68-B75F-66CC527469AA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5934ED94-54CA-4494-88DF-D19C95096F60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F6E4765A-CA24-4CA3-BF61-0ADF6BDB0481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id="{4CE4EA90-386B-4AC3-B916-FB233B260546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8" name="Footer Placeholder 35">
            <a:extLst>
              <a:ext uri="{FF2B5EF4-FFF2-40B4-BE49-F238E27FC236}">
                <a16:creationId xmlns:a16="http://schemas.microsoft.com/office/drawing/2014/main" id="{D4712537-4D32-4396-9A64-CEB0C16DFDC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1205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2" b="77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99E4AD4-9DC5-4A69-859C-9F20D35A684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</p:spTree>
    <p:extLst>
      <p:ext uri="{BB962C8B-B14F-4D97-AF65-F5344CB8AC3E}">
        <p14:creationId xmlns:p14="http://schemas.microsoft.com/office/powerpoint/2010/main" val="16058939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1B231A7-3BC6-49F7-A857-A1A64F5E95C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006780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4267403-8E76-488B-B6CE-9BD99368BB8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6562841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0AB530A-2C7A-421F-9A4F-3C1596D4A8E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88775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DDEDCEE-3F18-4AFB-852F-EBBF4CDC11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3128786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CBE42B6-759D-462F-A252-F304ABEFB7A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338557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754800"/>
            <a:ext cx="41652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563" y="3754800"/>
            <a:ext cx="4164437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754800"/>
            <a:ext cx="19200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563" y="648000"/>
            <a:ext cx="4164437" cy="24549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AF50DDA4-4261-4831-8DF6-AF1E6AC2C5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622363" y="648000"/>
            <a:ext cx="1921938" cy="24555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47908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4206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76409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300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47698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890498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2CABB3-8A2F-4639-9641-7512B46FD4F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133974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805C007-501E-4B1A-A801-40AEE78D772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76409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F790C8B6-B8A2-4468-AEF5-2B05688A5B8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21601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5241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754800"/>
            <a:ext cx="41652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563" y="3754800"/>
            <a:ext cx="4164437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563" y="648000"/>
            <a:ext cx="4164437" cy="24549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75CBCF3-6F03-4F84-8A94-3644ED1F04F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622363" y="3754800"/>
            <a:ext cx="1921938" cy="24555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97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 rIns="2160000"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385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2" b="77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114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48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9500" y="1944000"/>
            <a:ext cx="52848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38944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D164955-AAFE-44DB-8048-90A70DF8661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6716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FF6AB1D-7035-4850-8099-A05D5C98B1B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6762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F30A0AF3-120E-430F-B07C-61E0ED90A32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0318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6822DF0-BD2A-45DA-A991-FCFFEB9387F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3834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803473F0-5B51-41A3-A696-1D313DEE25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26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406163C9-8FC1-4562-98E9-AB64E534EB7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045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D164955-AAFE-44DB-8048-90A70DF8661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837D66FC-DC4E-42E6-A664-A3BBE99457B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41" name="Picture Placeholder 13">
            <a:extLst>
              <a:ext uri="{FF2B5EF4-FFF2-40B4-BE49-F238E27FC236}">
                <a16:creationId xmlns:a16="http://schemas.microsoft.com/office/drawing/2014/main" id="{6F7AAB87-013D-4879-A670-4D19E7B1BBD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id="{430594C0-449A-4065-BDC1-262E7240080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7">
            <a:extLst>
              <a:ext uri="{FF2B5EF4-FFF2-40B4-BE49-F238E27FC236}">
                <a16:creationId xmlns:a16="http://schemas.microsoft.com/office/drawing/2014/main" id="{AF4C9FD6-6121-4A05-905E-9F7EB745CC9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19">
            <a:extLst>
              <a:ext uri="{FF2B5EF4-FFF2-40B4-BE49-F238E27FC236}">
                <a16:creationId xmlns:a16="http://schemas.microsoft.com/office/drawing/2014/main" id="{A009BE6C-5770-488E-84D0-CB84B7E6743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1">
            <a:extLst>
              <a:ext uri="{FF2B5EF4-FFF2-40B4-BE49-F238E27FC236}">
                <a16:creationId xmlns:a16="http://schemas.microsoft.com/office/drawing/2014/main" id="{88ACD94E-49EA-45DC-9B10-99D79DA3A85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id="{A137004D-16E7-4776-A4E0-E10DDA9917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07AC9FEE-66FA-4BAB-847D-3481B9764B2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987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6BF1C1F0-F760-4738-922E-8861E7D6F2B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92F7635D-2B75-44D8-8925-9B9F075F4B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7" name="Picture Placeholder 13">
            <a:extLst>
              <a:ext uri="{FF2B5EF4-FFF2-40B4-BE49-F238E27FC236}">
                <a16:creationId xmlns:a16="http://schemas.microsoft.com/office/drawing/2014/main" id="{213AA0DC-8E8C-42A7-AD5F-2F20136E72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39" name="Picture Placeholder 15">
            <a:extLst>
              <a:ext uri="{FF2B5EF4-FFF2-40B4-BE49-F238E27FC236}">
                <a16:creationId xmlns:a16="http://schemas.microsoft.com/office/drawing/2014/main" id="{6DDEB68D-BA69-4911-A92A-E706D42033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7">
            <a:extLst>
              <a:ext uri="{FF2B5EF4-FFF2-40B4-BE49-F238E27FC236}">
                <a16:creationId xmlns:a16="http://schemas.microsoft.com/office/drawing/2014/main" id="{4B457EA1-A653-4D93-BB0E-9D9B5C9890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9">
            <a:extLst>
              <a:ext uri="{FF2B5EF4-FFF2-40B4-BE49-F238E27FC236}">
                <a16:creationId xmlns:a16="http://schemas.microsoft.com/office/drawing/2014/main" id="{D9989E9C-874F-49F9-9E20-34476A54C64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21">
            <a:extLst>
              <a:ext uri="{FF2B5EF4-FFF2-40B4-BE49-F238E27FC236}">
                <a16:creationId xmlns:a16="http://schemas.microsoft.com/office/drawing/2014/main" id="{5363BF19-E64B-4041-AAB9-3382B379595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2FA123A8-1BD8-4C86-9D4E-6C8C78210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BDC99EB8-12CC-4D3C-8A85-EBA91B4BB11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975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6F070DD5-6F65-4389-9556-4EC57A5CDDE8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BFB39DBA-AB90-446D-8CC1-217D77D07E2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BB050EEC-50ED-4FCD-AE15-53EBD9F02F7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20E17896-A35E-49A1-883D-DD541C122D7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id="{FBB2622B-2169-42EB-ACA0-5B6CDDD8949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id="{D9E7F031-7712-4E5B-A492-1F9F2FC003D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8680F426-11FD-4625-80C2-21E323E6E70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EEE2E38E-C6BC-4D64-812C-531FFE9161C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D350FC8F-B0E5-4FEF-BB99-384FC49E0660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5686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A90999F1-E4CF-4B0C-AEED-95A244B7B9C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30F2A203-8072-437B-88A6-CA2B889726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E7265980-4293-4FEA-9A16-9D340F945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E20C8C97-47E6-450D-A359-A1A4368F27A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id="{CEBE5F7C-548C-4BB4-86D1-E350C27B774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id="{0846F8B0-A6D3-42AE-B8CD-056EB70E7E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AD3BE6AE-FF4F-44D0-B861-8042DF4A42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1EA2B407-1AAA-4A5B-9970-97AEBBB2D2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4642A29E-13C5-43A8-B8FA-5951247C072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5492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DFF77013-3022-42FF-8909-CF177E1C0D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B751EAEB-A6C1-4D38-81B2-26E6392F8FC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D0F192CA-2972-45C5-A583-E7B6CEC95E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38C5C227-D90A-441A-81F0-56E4343E609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id="{8900D5E3-1329-48CC-8BD8-DAAB698AFA88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id="{AE7E00D8-08BE-4E9D-9AAE-6B8A81DCF6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0DE2D162-AF6A-47F6-BF8C-9D76452D51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49E4A6BA-CD68-4775-BF5F-1A2CC208765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2C7C2A83-DECB-475A-8A11-3B11842CFD5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6950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53ED41D2-D414-4F63-BCA3-D5293EBBCA3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9A0365-9129-489D-A56E-4F8B4660457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C6A8D0-DC30-41FC-9775-FA902AA27A8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2977513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761886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468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r>
              <a:rPr lang="en-GB" sz="900" dirty="0">
                <a:latin typeface="+mn-lt"/>
                <a:cs typeface="Arial" panose="020B0604020202020204" pitchFamily="34" charset="0"/>
              </a:rPr>
              <a:t/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127" b="11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-494" b="741"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323851"/>
            <a:ext cx="11001373" cy="7750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86732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9578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883F1F6-7FB2-4E19-8861-DEEAA41CE4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1"/>
            <a:ext cx="12191998" cy="6858000"/>
          </a:xfrm>
          <a:custGeom>
            <a:avLst/>
            <a:gdLst>
              <a:gd name="connsiteX0" fmla="*/ 6979537 w 7559674"/>
              <a:gd name="connsiteY0" fmla="*/ 805421 h 10691813"/>
              <a:gd name="connsiteX1" fmla="*/ 6991438 w 7559674"/>
              <a:gd name="connsiteY1" fmla="*/ 809482 h 10691813"/>
              <a:gd name="connsiteX2" fmla="*/ 6991438 w 7559674"/>
              <a:gd name="connsiteY2" fmla="*/ 853337 h 10691813"/>
              <a:gd name="connsiteX3" fmla="*/ 6991318 w 7559674"/>
              <a:gd name="connsiteY3" fmla="*/ 853337 h 10691813"/>
              <a:gd name="connsiteX4" fmla="*/ 6980372 w 7559674"/>
              <a:gd name="connsiteY4" fmla="*/ 858353 h 10691813"/>
              <a:gd name="connsiteX5" fmla="*/ 6959786 w 7559674"/>
              <a:gd name="connsiteY5" fmla="*/ 830872 h 10691813"/>
              <a:gd name="connsiteX6" fmla="*/ 6979537 w 7559674"/>
              <a:gd name="connsiteY6" fmla="*/ 805421 h 10691813"/>
              <a:gd name="connsiteX7" fmla="*/ 6874649 w 7559674"/>
              <a:gd name="connsiteY7" fmla="*/ 804667 h 10691813"/>
              <a:gd name="connsiteX8" fmla="*/ 6885605 w 7559674"/>
              <a:gd name="connsiteY8" fmla="*/ 808849 h 10691813"/>
              <a:gd name="connsiteX9" fmla="*/ 6891445 w 7559674"/>
              <a:gd name="connsiteY9" fmla="*/ 831686 h 10691813"/>
              <a:gd name="connsiteX10" fmla="*/ 6885605 w 7559674"/>
              <a:gd name="connsiteY10" fmla="*/ 854403 h 10691813"/>
              <a:gd name="connsiteX11" fmla="*/ 6874649 w 7559674"/>
              <a:gd name="connsiteY11" fmla="*/ 858464 h 10691813"/>
              <a:gd name="connsiteX12" fmla="*/ 6863933 w 7559674"/>
              <a:gd name="connsiteY12" fmla="*/ 854403 h 10691813"/>
              <a:gd name="connsiteX13" fmla="*/ 6858093 w 7559674"/>
              <a:gd name="connsiteY13" fmla="*/ 831686 h 10691813"/>
              <a:gd name="connsiteX14" fmla="*/ 6863933 w 7559674"/>
              <a:gd name="connsiteY14" fmla="*/ 808849 h 10691813"/>
              <a:gd name="connsiteX15" fmla="*/ 6874649 w 7559674"/>
              <a:gd name="connsiteY15" fmla="*/ 804667 h 10691813"/>
              <a:gd name="connsiteX16" fmla="*/ 6722185 w 7559674"/>
              <a:gd name="connsiteY16" fmla="*/ 804667 h 10691813"/>
              <a:gd name="connsiteX17" fmla="*/ 6732951 w 7559674"/>
              <a:gd name="connsiteY17" fmla="*/ 808849 h 10691813"/>
              <a:gd name="connsiteX18" fmla="*/ 6738811 w 7559674"/>
              <a:gd name="connsiteY18" fmla="*/ 831686 h 10691813"/>
              <a:gd name="connsiteX19" fmla="*/ 6732951 w 7559674"/>
              <a:gd name="connsiteY19" fmla="*/ 854403 h 10691813"/>
              <a:gd name="connsiteX20" fmla="*/ 6722185 w 7559674"/>
              <a:gd name="connsiteY20" fmla="*/ 858464 h 10691813"/>
              <a:gd name="connsiteX21" fmla="*/ 6711179 w 7559674"/>
              <a:gd name="connsiteY21" fmla="*/ 854403 h 10691813"/>
              <a:gd name="connsiteX22" fmla="*/ 6705319 w 7559674"/>
              <a:gd name="connsiteY22" fmla="*/ 831686 h 10691813"/>
              <a:gd name="connsiteX23" fmla="*/ 6711179 w 7559674"/>
              <a:gd name="connsiteY23" fmla="*/ 808849 h 10691813"/>
              <a:gd name="connsiteX24" fmla="*/ 6722185 w 7559674"/>
              <a:gd name="connsiteY24" fmla="*/ 804667 h 10691813"/>
              <a:gd name="connsiteX25" fmla="*/ 6608079 w 7559674"/>
              <a:gd name="connsiteY25" fmla="*/ 804667 h 10691813"/>
              <a:gd name="connsiteX26" fmla="*/ 6618965 w 7559674"/>
              <a:gd name="connsiteY26" fmla="*/ 808849 h 10691813"/>
              <a:gd name="connsiteX27" fmla="*/ 6624825 w 7559674"/>
              <a:gd name="connsiteY27" fmla="*/ 831686 h 10691813"/>
              <a:gd name="connsiteX28" fmla="*/ 6618965 w 7559674"/>
              <a:gd name="connsiteY28" fmla="*/ 854403 h 10691813"/>
              <a:gd name="connsiteX29" fmla="*/ 6608079 w 7559674"/>
              <a:gd name="connsiteY29" fmla="*/ 858464 h 10691813"/>
              <a:gd name="connsiteX30" fmla="*/ 6597314 w 7559674"/>
              <a:gd name="connsiteY30" fmla="*/ 854403 h 10691813"/>
              <a:gd name="connsiteX31" fmla="*/ 6591454 w 7559674"/>
              <a:gd name="connsiteY31" fmla="*/ 831686 h 10691813"/>
              <a:gd name="connsiteX32" fmla="*/ 6597314 w 7559674"/>
              <a:gd name="connsiteY32" fmla="*/ 808849 h 10691813"/>
              <a:gd name="connsiteX33" fmla="*/ 6608079 w 7559674"/>
              <a:gd name="connsiteY33" fmla="*/ 804667 h 10691813"/>
              <a:gd name="connsiteX34" fmla="*/ 7019101 w 7559674"/>
              <a:gd name="connsiteY34" fmla="*/ 799129 h 10691813"/>
              <a:gd name="connsiteX35" fmla="*/ 7016970 w 7559674"/>
              <a:gd name="connsiteY35" fmla="*/ 801391 h 10691813"/>
              <a:gd name="connsiteX36" fmla="*/ 7016970 w 7559674"/>
              <a:gd name="connsiteY36" fmla="*/ 861570 h 10691813"/>
              <a:gd name="connsiteX37" fmla="*/ 7018869 w 7559674"/>
              <a:gd name="connsiteY37" fmla="*/ 863831 h 10691813"/>
              <a:gd name="connsiteX38" fmla="*/ 7025624 w 7559674"/>
              <a:gd name="connsiteY38" fmla="*/ 863831 h 10691813"/>
              <a:gd name="connsiteX39" fmla="*/ 7027986 w 7559674"/>
              <a:gd name="connsiteY39" fmla="*/ 861570 h 10691813"/>
              <a:gd name="connsiteX40" fmla="*/ 7027986 w 7559674"/>
              <a:gd name="connsiteY40" fmla="*/ 801391 h 10691813"/>
              <a:gd name="connsiteX41" fmla="*/ 7025614 w 7559674"/>
              <a:gd name="connsiteY41" fmla="*/ 799129 h 10691813"/>
              <a:gd name="connsiteX42" fmla="*/ 7019101 w 7559674"/>
              <a:gd name="connsiteY42" fmla="*/ 799129 h 10691813"/>
              <a:gd name="connsiteX43" fmla="*/ 7128885 w 7559674"/>
              <a:gd name="connsiteY43" fmla="*/ 798817 h 10691813"/>
              <a:gd name="connsiteX44" fmla="*/ 7125055 w 7559674"/>
              <a:gd name="connsiteY44" fmla="*/ 800848 h 10691813"/>
              <a:gd name="connsiteX45" fmla="*/ 7102901 w 7559674"/>
              <a:gd name="connsiteY45" fmla="*/ 828651 h 10691813"/>
              <a:gd name="connsiteX46" fmla="*/ 7102419 w 7559674"/>
              <a:gd name="connsiteY46" fmla="*/ 829364 h 10691813"/>
              <a:gd name="connsiteX47" fmla="*/ 7102539 w 7559674"/>
              <a:gd name="connsiteY47" fmla="*/ 830078 h 10691813"/>
              <a:gd name="connsiteX48" fmla="*/ 7124814 w 7559674"/>
              <a:gd name="connsiteY48" fmla="*/ 861932 h 10691813"/>
              <a:gd name="connsiteX49" fmla="*/ 7128523 w 7559674"/>
              <a:gd name="connsiteY49" fmla="*/ 863841 h 10691813"/>
              <a:gd name="connsiteX50" fmla="*/ 7137026 w 7559674"/>
              <a:gd name="connsiteY50" fmla="*/ 863841 h 10691813"/>
              <a:gd name="connsiteX51" fmla="*/ 7138816 w 7559674"/>
              <a:gd name="connsiteY51" fmla="*/ 862283 h 10691813"/>
              <a:gd name="connsiteX52" fmla="*/ 7137981 w 7559674"/>
              <a:gd name="connsiteY52" fmla="*/ 860735 h 10691813"/>
              <a:gd name="connsiteX53" fmla="*/ 7114269 w 7559674"/>
              <a:gd name="connsiteY53" fmla="*/ 829354 h 10691813"/>
              <a:gd name="connsiteX54" fmla="*/ 7114028 w 7559674"/>
              <a:gd name="connsiteY54" fmla="*/ 829113 h 10691813"/>
              <a:gd name="connsiteX55" fmla="*/ 7136423 w 7559674"/>
              <a:gd name="connsiteY55" fmla="*/ 802747 h 10691813"/>
              <a:gd name="connsiteX56" fmla="*/ 7137026 w 7559674"/>
              <a:gd name="connsiteY56" fmla="*/ 800245 h 10691813"/>
              <a:gd name="connsiteX57" fmla="*/ 7134755 w 7559674"/>
              <a:gd name="connsiteY57" fmla="*/ 798817 h 10691813"/>
              <a:gd name="connsiteX58" fmla="*/ 7128885 w 7559674"/>
              <a:gd name="connsiteY58" fmla="*/ 798817 h 10691813"/>
              <a:gd name="connsiteX59" fmla="*/ 6639913 w 7559674"/>
              <a:gd name="connsiteY59" fmla="*/ 798817 h 10691813"/>
              <a:gd name="connsiteX60" fmla="*/ 6638234 w 7559674"/>
              <a:gd name="connsiteY60" fmla="*/ 800486 h 10691813"/>
              <a:gd name="connsiteX61" fmla="*/ 6638717 w 7559674"/>
              <a:gd name="connsiteY61" fmla="*/ 802275 h 10691813"/>
              <a:gd name="connsiteX62" fmla="*/ 6661313 w 7559674"/>
              <a:gd name="connsiteY62" fmla="*/ 861911 h 10691813"/>
              <a:gd name="connsiteX63" fmla="*/ 6663343 w 7559674"/>
              <a:gd name="connsiteY63" fmla="*/ 863821 h 10691813"/>
              <a:gd name="connsiteX64" fmla="*/ 6668248 w 7559674"/>
              <a:gd name="connsiteY64" fmla="*/ 863821 h 10691813"/>
              <a:gd name="connsiteX65" fmla="*/ 6670520 w 7559674"/>
              <a:gd name="connsiteY65" fmla="*/ 861911 h 10691813"/>
              <a:gd name="connsiteX66" fmla="*/ 6692523 w 7559674"/>
              <a:gd name="connsiteY66" fmla="*/ 802044 h 10691813"/>
              <a:gd name="connsiteX67" fmla="*/ 6692764 w 7559674"/>
              <a:gd name="connsiteY67" fmla="*/ 800134 h 10691813"/>
              <a:gd name="connsiteX68" fmla="*/ 6691206 w 7559674"/>
              <a:gd name="connsiteY68" fmla="*/ 798817 h 10691813"/>
              <a:gd name="connsiteX69" fmla="*/ 6684984 w 7559674"/>
              <a:gd name="connsiteY69" fmla="*/ 798817 h 10691813"/>
              <a:gd name="connsiteX70" fmla="*/ 6683426 w 7559674"/>
              <a:gd name="connsiteY70" fmla="*/ 800606 h 10691813"/>
              <a:gd name="connsiteX71" fmla="*/ 6667163 w 7559674"/>
              <a:gd name="connsiteY71" fmla="*/ 848412 h 10691813"/>
              <a:gd name="connsiteX72" fmla="*/ 6650427 w 7559674"/>
              <a:gd name="connsiteY72" fmla="*/ 800848 h 10691813"/>
              <a:gd name="connsiteX73" fmla="*/ 6647562 w 7559674"/>
              <a:gd name="connsiteY73" fmla="*/ 798817 h 10691813"/>
              <a:gd name="connsiteX74" fmla="*/ 6639913 w 7559674"/>
              <a:gd name="connsiteY74" fmla="*/ 798817 h 10691813"/>
              <a:gd name="connsiteX75" fmla="*/ 7061539 w 7559674"/>
              <a:gd name="connsiteY75" fmla="*/ 797732 h 10691813"/>
              <a:gd name="connsiteX76" fmla="*/ 7040129 w 7559674"/>
              <a:gd name="connsiteY76" fmla="*/ 815543 h 10691813"/>
              <a:gd name="connsiteX77" fmla="*/ 7056995 w 7559674"/>
              <a:gd name="connsiteY77" fmla="*/ 834913 h 10691813"/>
              <a:gd name="connsiteX78" fmla="*/ 7070867 w 7559674"/>
              <a:gd name="connsiteY78" fmla="*/ 847467 h 10691813"/>
              <a:gd name="connsiteX79" fmla="*/ 7058071 w 7559674"/>
              <a:gd name="connsiteY79" fmla="*/ 858464 h 10691813"/>
              <a:gd name="connsiteX80" fmla="*/ 7042400 w 7559674"/>
              <a:gd name="connsiteY80" fmla="*/ 851890 h 10691813"/>
              <a:gd name="connsiteX81" fmla="*/ 7037736 w 7559674"/>
              <a:gd name="connsiteY81" fmla="*/ 856071 h 10691813"/>
              <a:gd name="connsiteX82" fmla="*/ 7057830 w 7559674"/>
              <a:gd name="connsiteY82" fmla="*/ 865641 h 10691813"/>
              <a:gd name="connsiteX83" fmla="*/ 7080798 w 7559674"/>
              <a:gd name="connsiteY83" fmla="*/ 846271 h 10691813"/>
              <a:gd name="connsiteX84" fmla="*/ 7050060 w 7559674"/>
              <a:gd name="connsiteY84" fmla="*/ 814468 h 10691813"/>
              <a:gd name="connsiteX85" fmla="*/ 7060825 w 7559674"/>
              <a:gd name="connsiteY85" fmla="*/ 804899 h 10691813"/>
              <a:gd name="connsiteX86" fmla="*/ 7073741 w 7559674"/>
              <a:gd name="connsiteY86" fmla="*/ 809683 h 10691813"/>
              <a:gd name="connsiteX87" fmla="*/ 7078405 w 7559674"/>
              <a:gd name="connsiteY87" fmla="*/ 805260 h 10691813"/>
              <a:gd name="connsiteX88" fmla="*/ 7061539 w 7559674"/>
              <a:gd name="connsiteY88" fmla="*/ 797732 h 10691813"/>
              <a:gd name="connsiteX89" fmla="*/ 6931149 w 7559674"/>
              <a:gd name="connsiteY89" fmla="*/ 797370 h 10691813"/>
              <a:gd name="connsiteX90" fmla="*/ 6916936 w 7559674"/>
              <a:gd name="connsiteY90" fmla="*/ 799280 h 10691813"/>
              <a:gd name="connsiteX91" fmla="*/ 6911086 w 7559674"/>
              <a:gd name="connsiteY91" fmla="*/ 804396 h 10691813"/>
              <a:gd name="connsiteX92" fmla="*/ 6911086 w 7559674"/>
              <a:gd name="connsiteY92" fmla="*/ 861449 h 10691813"/>
              <a:gd name="connsiteX93" fmla="*/ 6913599 w 7559674"/>
              <a:gd name="connsiteY93" fmla="*/ 863469 h 10691813"/>
              <a:gd name="connsiteX94" fmla="*/ 6919931 w 7559674"/>
              <a:gd name="connsiteY94" fmla="*/ 863469 h 10691813"/>
              <a:gd name="connsiteX95" fmla="*/ 6922203 w 7559674"/>
              <a:gd name="connsiteY95" fmla="*/ 861449 h 10691813"/>
              <a:gd name="connsiteX96" fmla="*/ 6922203 w 7559674"/>
              <a:gd name="connsiteY96" fmla="*/ 809160 h 10691813"/>
              <a:gd name="connsiteX97" fmla="*/ 6928535 w 7559674"/>
              <a:gd name="connsiteY97" fmla="*/ 803562 h 10691813"/>
              <a:gd name="connsiteX98" fmla="*/ 6942035 w 7559674"/>
              <a:gd name="connsiteY98" fmla="*/ 809402 h 10691813"/>
              <a:gd name="connsiteX99" fmla="*/ 6947513 w 7559674"/>
              <a:gd name="connsiteY99" fmla="*/ 803924 h 10691813"/>
              <a:gd name="connsiteX100" fmla="*/ 6931149 w 7559674"/>
              <a:gd name="connsiteY100" fmla="*/ 797370 h 10691813"/>
              <a:gd name="connsiteX101" fmla="*/ 6874659 w 7559674"/>
              <a:gd name="connsiteY101" fmla="*/ 797370 h 10691813"/>
              <a:gd name="connsiteX102" fmla="*/ 6858465 w 7559674"/>
              <a:gd name="connsiteY102" fmla="*/ 802034 h 10691813"/>
              <a:gd name="connsiteX103" fmla="*/ 6846554 w 7559674"/>
              <a:gd name="connsiteY103" fmla="*/ 831686 h 10691813"/>
              <a:gd name="connsiteX104" fmla="*/ 6858465 w 7559674"/>
              <a:gd name="connsiteY104" fmla="*/ 861218 h 10691813"/>
              <a:gd name="connsiteX105" fmla="*/ 6874659 w 7559674"/>
              <a:gd name="connsiteY105" fmla="*/ 865761 h 10691813"/>
              <a:gd name="connsiteX106" fmla="*/ 6890852 w 7559674"/>
              <a:gd name="connsiteY106" fmla="*/ 861218 h 10691813"/>
              <a:gd name="connsiteX107" fmla="*/ 6902884 w 7559674"/>
              <a:gd name="connsiteY107" fmla="*/ 831686 h 10691813"/>
              <a:gd name="connsiteX108" fmla="*/ 6890852 w 7559674"/>
              <a:gd name="connsiteY108" fmla="*/ 802034 h 10691813"/>
              <a:gd name="connsiteX109" fmla="*/ 6874659 w 7559674"/>
              <a:gd name="connsiteY109" fmla="*/ 797370 h 10691813"/>
              <a:gd name="connsiteX110" fmla="*/ 6811695 w 7559674"/>
              <a:gd name="connsiteY110" fmla="*/ 797370 h 10691813"/>
              <a:gd name="connsiteX111" fmla="*/ 6792316 w 7559674"/>
              <a:gd name="connsiteY111" fmla="*/ 800476 h 10691813"/>
              <a:gd name="connsiteX112" fmla="*/ 6786727 w 7559674"/>
              <a:gd name="connsiteY112" fmla="*/ 805612 h 10691813"/>
              <a:gd name="connsiteX113" fmla="*/ 6786727 w 7559674"/>
              <a:gd name="connsiteY113" fmla="*/ 861550 h 10691813"/>
              <a:gd name="connsiteX114" fmla="*/ 6789109 w 7559674"/>
              <a:gd name="connsiteY114" fmla="*/ 863821 h 10691813"/>
              <a:gd name="connsiteX115" fmla="*/ 6795291 w 7559674"/>
              <a:gd name="connsiteY115" fmla="*/ 863821 h 10691813"/>
              <a:gd name="connsiteX116" fmla="*/ 6797904 w 7559674"/>
              <a:gd name="connsiteY116" fmla="*/ 861308 h 10691813"/>
              <a:gd name="connsiteX117" fmla="*/ 6797904 w 7559674"/>
              <a:gd name="connsiteY117" fmla="*/ 809794 h 10691813"/>
              <a:gd name="connsiteX118" fmla="*/ 6811343 w 7559674"/>
              <a:gd name="connsiteY118" fmla="*/ 804175 h 10691813"/>
              <a:gd name="connsiteX119" fmla="*/ 6825848 w 7559674"/>
              <a:gd name="connsiteY119" fmla="*/ 819474 h 10691813"/>
              <a:gd name="connsiteX120" fmla="*/ 6825848 w 7559674"/>
              <a:gd name="connsiteY120" fmla="*/ 861308 h 10691813"/>
              <a:gd name="connsiteX121" fmla="*/ 6828703 w 7559674"/>
              <a:gd name="connsiteY121" fmla="*/ 863821 h 10691813"/>
              <a:gd name="connsiteX122" fmla="*/ 6835598 w 7559674"/>
              <a:gd name="connsiteY122" fmla="*/ 863821 h 10691813"/>
              <a:gd name="connsiteX123" fmla="*/ 6836784 w 7559674"/>
              <a:gd name="connsiteY123" fmla="*/ 861318 h 10691813"/>
              <a:gd name="connsiteX124" fmla="*/ 6836784 w 7559674"/>
              <a:gd name="connsiteY124" fmla="*/ 818046 h 10691813"/>
              <a:gd name="connsiteX125" fmla="*/ 6811695 w 7559674"/>
              <a:gd name="connsiteY125" fmla="*/ 797370 h 10691813"/>
              <a:gd name="connsiteX126" fmla="*/ 6721954 w 7559674"/>
              <a:gd name="connsiteY126" fmla="*/ 797370 h 10691813"/>
              <a:gd name="connsiteX127" fmla="*/ 6705691 w 7559674"/>
              <a:gd name="connsiteY127" fmla="*/ 802034 h 10691813"/>
              <a:gd name="connsiteX128" fmla="*/ 6693729 w 7559674"/>
              <a:gd name="connsiteY128" fmla="*/ 831686 h 10691813"/>
              <a:gd name="connsiteX129" fmla="*/ 6705691 w 7559674"/>
              <a:gd name="connsiteY129" fmla="*/ 861218 h 10691813"/>
              <a:gd name="connsiteX130" fmla="*/ 6721954 w 7559674"/>
              <a:gd name="connsiteY130" fmla="*/ 865761 h 10691813"/>
              <a:gd name="connsiteX131" fmla="*/ 6738218 w 7559674"/>
              <a:gd name="connsiteY131" fmla="*/ 861218 h 10691813"/>
              <a:gd name="connsiteX132" fmla="*/ 6750300 w 7559674"/>
              <a:gd name="connsiteY132" fmla="*/ 831686 h 10691813"/>
              <a:gd name="connsiteX133" fmla="*/ 6738218 w 7559674"/>
              <a:gd name="connsiteY133" fmla="*/ 802034 h 10691813"/>
              <a:gd name="connsiteX134" fmla="*/ 6721954 w 7559674"/>
              <a:gd name="connsiteY134" fmla="*/ 797370 h 10691813"/>
              <a:gd name="connsiteX135" fmla="*/ 6608089 w 7559674"/>
              <a:gd name="connsiteY135" fmla="*/ 797370 h 10691813"/>
              <a:gd name="connsiteX136" fmla="*/ 6591826 w 7559674"/>
              <a:gd name="connsiteY136" fmla="*/ 802034 h 10691813"/>
              <a:gd name="connsiteX137" fmla="*/ 6579744 w 7559674"/>
              <a:gd name="connsiteY137" fmla="*/ 831686 h 10691813"/>
              <a:gd name="connsiteX138" fmla="*/ 6591826 w 7559674"/>
              <a:gd name="connsiteY138" fmla="*/ 861218 h 10691813"/>
              <a:gd name="connsiteX139" fmla="*/ 6608089 w 7559674"/>
              <a:gd name="connsiteY139" fmla="*/ 865761 h 10691813"/>
              <a:gd name="connsiteX140" fmla="*/ 6624353 w 7559674"/>
              <a:gd name="connsiteY140" fmla="*/ 861218 h 10691813"/>
              <a:gd name="connsiteX141" fmla="*/ 6636314 w 7559674"/>
              <a:gd name="connsiteY141" fmla="*/ 831686 h 10691813"/>
              <a:gd name="connsiteX142" fmla="*/ 6624353 w 7559674"/>
              <a:gd name="connsiteY142" fmla="*/ 802034 h 10691813"/>
              <a:gd name="connsiteX143" fmla="*/ 6608089 w 7559674"/>
              <a:gd name="connsiteY143" fmla="*/ 797370 h 10691813"/>
              <a:gd name="connsiteX144" fmla="*/ 6545005 w 7559674"/>
              <a:gd name="connsiteY144" fmla="*/ 797370 h 10691813"/>
              <a:gd name="connsiteX145" fmla="*/ 6525535 w 7559674"/>
              <a:gd name="connsiteY145" fmla="*/ 800476 h 10691813"/>
              <a:gd name="connsiteX146" fmla="*/ 6519916 w 7559674"/>
              <a:gd name="connsiteY146" fmla="*/ 805612 h 10691813"/>
              <a:gd name="connsiteX147" fmla="*/ 6519916 w 7559674"/>
              <a:gd name="connsiteY147" fmla="*/ 861550 h 10691813"/>
              <a:gd name="connsiteX148" fmla="*/ 6522188 w 7559674"/>
              <a:gd name="connsiteY148" fmla="*/ 863821 h 10691813"/>
              <a:gd name="connsiteX149" fmla="*/ 6528400 w 7559674"/>
              <a:gd name="connsiteY149" fmla="*/ 863821 h 10691813"/>
              <a:gd name="connsiteX150" fmla="*/ 6531023 w 7559674"/>
              <a:gd name="connsiteY150" fmla="*/ 861308 h 10691813"/>
              <a:gd name="connsiteX151" fmla="*/ 6531023 w 7559674"/>
              <a:gd name="connsiteY151" fmla="*/ 809794 h 10691813"/>
              <a:gd name="connsiteX152" fmla="*/ 6544523 w 7559674"/>
              <a:gd name="connsiteY152" fmla="*/ 804175 h 10691813"/>
              <a:gd name="connsiteX153" fmla="*/ 6559098 w 7559674"/>
              <a:gd name="connsiteY153" fmla="*/ 819474 h 10691813"/>
              <a:gd name="connsiteX154" fmla="*/ 6559098 w 7559674"/>
              <a:gd name="connsiteY154" fmla="*/ 861308 h 10691813"/>
              <a:gd name="connsiteX155" fmla="*/ 6561962 w 7559674"/>
              <a:gd name="connsiteY155" fmla="*/ 863821 h 10691813"/>
              <a:gd name="connsiteX156" fmla="*/ 6568888 w 7559674"/>
              <a:gd name="connsiteY156" fmla="*/ 863821 h 10691813"/>
              <a:gd name="connsiteX157" fmla="*/ 6570215 w 7559674"/>
              <a:gd name="connsiteY157" fmla="*/ 861318 h 10691813"/>
              <a:gd name="connsiteX158" fmla="*/ 6570215 w 7559674"/>
              <a:gd name="connsiteY158" fmla="*/ 818046 h 10691813"/>
              <a:gd name="connsiteX159" fmla="*/ 6545005 w 7559674"/>
              <a:gd name="connsiteY159" fmla="*/ 797370 h 10691813"/>
              <a:gd name="connsiteX160" fmla="*/ 6993580 w 7559674"/>
              <a:gd name="connsiteY160" fmla="*/ 775648 h 10691813"/>
              <a:gd name="connsiteX161" fmla="*/ 6991318 w 7559674"/>
              <a:gd name="connsiteY161" fmla="*/ 778513 h 10691813"/>
              <a:gd name="connsiteX162" fmla="*/ 6991318 w 7559674"/>
              <a:gd name="connsiteY162" fmla="*/ 801220 h 10691813"/>
              <a:gd name="connsiteX163" fmla="*/ 6977748 w 7559674"/>
              <a:gd name="connsiteY163" fmla="*/ 797752 h 10691813"/>
              <a:gd name="connsiteX164" fmla="*/ 6948468 w 7559674"/>
              <a:gd name="connsiteY164" fmla="*/ 831686 h 10691813"/>
              <a:gd name="connsiteX165" fmla="*/ 6980010 w 7559674"/>
              <a:gd name="connsiteY165" fmla="*/ 865741 h 10691813"/>
              <a:gd name="connsiteX166" fmla="*/ 7002154 w 7559674"/>
              <a:gd name="connsiteY166" fmla="*/ 856916 h 10691813"/>
              <a:gd name="connsiteX167" fmla="*/ 7002154 w 7559674"/>
              <a:gd name="connsiteY167" fmla="*/ 778161 h 10691813"/>
              <a:gd name="connsiteX168" fmla="*/ 6999771 w 7559674"/>
              <a:gd name="connsiteY168" fmla="*/ 775648 h 10691813"/>
              <a:gd name="connsiteX169" fmla="*/ 6993580 w 7559674"/>
              <a:gd name="connsiteY169" fmla="*/ 775648 h 10691813"/>
              <a:gd name="connsiteX170" fmla="*/ 7091884 w 7559674"/>
              <a:gd name="connsiteY170" fmla="*/ 775417 h 10691813"/>
              <a:gd name="connsiteX171" fmla="*/ 7089844 w 7559674"/>
              <a:gd name="connsiteY171" fmla="*/ 777448 h 10691813"/>
              <a:gd name="connsiteX172" fmla="*/ 7089844 w 7559674"/>
              <a:gd name="connsiteY172" fmla="*/ 861801 h 10691813"/>
              <a:gd name="connsiteX173" fmla="*/ 7091884 w 7559674"/>
              <a:gd name="connsiteY173" fmla="*/ 863711 h 10691813"/>
              <a:gd name="connsiteX174" fmla="*/ 7098468 w 7559674"/>
              <a:gd name="connsiteY174" fmla="*/ 863711 h 10691813"/>
              <a:gd name="connsiteX175" fmla="*/ 7100740 w 7559674"/>
              <a:gd name="connsiteY175" fmla="*/ 861921 h 10691813"/>
              <a:gd name="connsiteX176" fmla="*/ 7100740 w 7559674"/>
              <a:gd name="connsiteY176" fmla="*/ 777206 h 10691813"/>
              <a:gd name="connsiteX177" fmla="*/ 7098468 w 7559674"/>
              <a:gd name="connsiteY177" fmla="*/ 775417 h 10691813"/>
              <a:gd name="connsiteX178" fmla="*/ 7091884 w 7559674"/>
              <a:gd name="connsiteY178" fmla="*/ 775417 h 10691813"/>
              <a:gd name="connsiteX179" fmla="*/ 7022780 w 7559674"/>
              <a:gd name="connsiteY179" fmla="*/ 774694 h 10691813"/>
              <a:gd name="connsiteX180" fmla="*/ 7015904 w 7559674"/>
              <a:gd name="connsiteY180" fmla="*/ 781368 h 10691813"/>
              <a:gd name="connsiteX181" fmla="*/ 7022538 w 7559674"/>
              <a:gd name="connsiteY181" fmla="*/ 787921 h 10691813"/>
              <a:gd name="connsiteX182" fmla="*/ 7029293 w 7559674"/>
              <a:gd name="connsiteY182" fmla="*/ 780895 h 10691813"/>
              <a:gd name="connsiteX183" fmla="*/ 7022780 w 7559674"/>
              <a:gd name="connsiteY183" fmla="*/ 774694 h 10691813"/>
              <a:gd name="connsiteX184" fmla="*/ 7155441 w 7559674"/>
              <a:gd name="connsiteY184" fmla="*/ 765215 h 10691813"/>
              <a:gd name="connsiteX185" fmla="*/ 7155685 w 7559674"/>
              <a:gd name="connsiteY185" fmla="*/ 765395 h 10691813"/>
              <a:gd name="connsiteX186" fmla="*/ 7155441 w 7559674"/>
              <a:gd name="connsiteY186" fmla="*/ 765456 h 10691813"/>
              <a:gd name="connsiteX187" fmla="*/ 7155441 w 7559674"/>
              <a:gd name="connsiteY187" fmla="*/ 765215 h 10691813"/>
              <a:gd name="connsiteX188" fmla="*/ 7148164 w 7559674"/>
              <a:gd name="connsiteY188" fmla="*/ 756490 h 10691813"/>
              <a:gd name="connsiteX189" fmla="*/ 7152094 w 7559674"/>
              <a:gd name="connsiteY189" fmla="*/ 756490 h 10691813"/>
              <a:gd name="connsiteX190" fmla="*/ 7157461 w 7559674"/>
              <a:gd name="connsiteY190" fmla="*/ 759716 h 10691813"/>
              <a:gd name="connsiteX191" fmla="*/ 7152456 w 7559674"/>
              <a:gd name="connsiteY191" fmla="*/ 762943 h 10691813"/>
              <a:gd name="connsiteX192" fmla="*/ 7148164 w 7559674"/>
              <a:gd name="connsiteY192" fmla="*/ 762943 h 10691813"/>
              <a:gd name="connsiteX193" fmla="*/ 7144826 w 7559674"/>
              <a:gd name="connsiteY193" fmla="*/ 753494 h 10691813"/>
              <a:gd name="connsiteX194" fmla="*/ 7144826 w 7559674"/>
              <a:gd name="connsiteY194" fmla="*/ 775136 h 10691813"/>
              <a:gd name="connsiteX195" fmla="*/ 7148405 w 7559674"/>
              <a:gd name="connsiteY195" fmla="*/ 775136 h 10691813"/>
              <a:gd name="connsiteX196" fmla="*/ 7148405 w 7559674"/>
              <a:gd name="connsiteY196" fmla="*/ 765928 h 10691813"/>
              <a:gd name="connsiteX197" fmla="*/ 7150435 w 7559674"/>
              <a:gd name="connsiteY197" fmla="*/ 765928 h 10691813"/>
              <a:gd name="connsiteX198" fmla="*/ 7156868 w 7559674"/>
              <a:gd name="connsiteY198" fmla="*/ 771668 h 10691813"/>
              <a:gd name="connsiteX199" fmla="*/ 7158778 w 7559674"/>
              <a:gd name="connsiteY199" fmla="*/ 775015 h 10691813"/>
              <a:gd name="connsiteX200" fmla="*/ 7162950 w 7559674"/>
              <a:gd name="connsiteY200" fmla="*/ 775015 h 10691813"/>
              <a:gd name="connsiteX201" fmla="*/ 7160326 w 7559674"/>
              <a:gd name="connsiteY201" fmla="*/ 770713 h 10691813"/>
              <a:gd name="connsiteX202" fmla="*/ 7157344 w 7559674"/>
              <a:gd name="connsiteY202" fmla="*/ 766618 h 10691813"/>
              <a:gd name="connsiteX203" fmla="*/ 7155685 w 7559674"/>
              <a:gd name="connsiteY203" fmla="*/ 765395 h 10691813"/>
              <a:gd name="connsiteX204" fmla="*/ 7158253 w 7559674"/>
              <a:gd name="connsiteY204" fmla="*/ 764754 h 10691813"/>
              <a:gd name="connsiteX205" fmla="*/ 7161522 w 7559674"/>
              <a:gd name="connsiteY205" fmla="*/ 759355 h 10691813"/>
              <a:gd name="connsiteX206" fmla="*/ 7159492 w 7559674"/>
              <a:gd name="connsiteY206" fmla="*/ 755173 h 10691813"/>
              <a:gd name="connsiteX207" fmla="*/ 7152456 w 7559674"/>
              <a:gd name="connsiteY207" fmla="*/ 753494 h 10691813"/>
              <a:gd name="connsiteX208" fmla="*/ 7144826 w 7559674"/>
              <a:gd name="connsiteY208" fmla="*/ 753494 h 10691813"/>
              <a:gd name="connsiteX209" fmla="*/ 7153290 w 7559674"/>
              <a:gd name="connsiteY209" fmla="*/ 747524 h 10691813"/>
              <a:gd name="connsiteX210" fmla="*/ 7169976 w 7559674"/>
              <a:gd name="connsiteY210" fmla="*/ 764139 h 10691813"/>
              <a:gd name="connsiteX211" fmla="*/ 7153290 w 7559674"/>
              <a:gd name="connsiteY211" fmla="*/ 780996 h 10691813"/>
              <a:gd name="connsiteX212" fmla="*/ 7136725 w 7559674"/>
              <a:gd name="connsiteY212" fmla="*/ 764139 h 10691813"/>
              <a:gd name="connsiteX213" fmla="*/ 7153290 w 7559674"/>
              <a:gd name="connsiteY213" fmla="*/ 747524 h 10691813"/>
              <a:gd name="connsiteX214" fmla="*/ 7153290 w 7559674"/>
              <a:gd name="connsiteY214" fmla="*/ 744056 h 10691813"/>
              <a:gd name="connsiteX215" fmla="*/ 7133388 w 7559674"/>
              <a:gd name="connsiteY215" fmla="*/ 764139 h 10691813"/>
              <a:gd name="connsiteX216" fmla="*/ 7153290 w 7559674"/>
              <a:gd name="connsiteY216" fmla="*/ 784222 h 10691813"/>
              <a:gd name="connsiteX217" fmla="*/ 7173192 w 7559674"/>
              <a:gd name="connsiteY217" fmla="*/ 764139 h 10691813"/>
              <a:gd name="connsiteX218" fmla="*/ 7153290 w 7559674"/>
              <a:gd name="connsiteY218" fmla="*/ 744056 h 10691813"/>
              <a:gd name="connsiteX219" fmla="*/ 6954553 w 7559674"/>
              <a:gd name="connsiteY219" fmla="*/ 613780 h 10691813"/>
              <a:gd name="connsiteX220" fmla="*/ 6956238 w 7559674"/>
              <a:gd name="connsiteY220" fmla="*/ 614541 h 10691813"/>
              <a:gd name="connsiteX221" fmla="*/ 6959464 w 7559674"/>
              <a:gd name="connsiteY221" fmla="*/ 691315 h 10691813"/>
              <a:gd name="connsiteX222" fmla="*/ 6955765 w 7559674"/>
              <a:gd name="connsiteY222" fmla="*/ 690602 h 10691813"/>
              <a:gd name="connsiteX223" fmla="*/ 6949795 w 7559674"/>
              <a:gd name="connsiteY223" fmla="*/ 659080 h 10691813"/>
              <a:gd name="connsiteX224" fmla="*/ 6953494 w 7559674"/>
              <a:gd name="connsiteY224" fmla="*/ 614903 h 10691813"/>
              <a:gd name="connsiteX225" fmla="*/ 6954553 w 7559674"/>
              <a:gd name="connsiteY225" fmla="*/ 613780 h 10691813"/>
              <a:gd name="connsiteX226" fmla="*/ 6815987 w 7559674"/>
              <a:gd name="connsiteY226" fmla="*/ 568092 h 10691813"/>
              <a:gd name="connsiteX227" fmla="*/ 6871301 w 7559674"/>
              <a:gd name="connsiteY227" fmla="*/ 570002 h 10691813"/>
              <a:gd name="connsiteX228" fmla="*/ 6869743 w 7559674"/>
              <a:gd name="connsiteY228" fmla="*/ 600328 h 10691813"/>
              <a:gd name="connsiteX229" fmla="*/ 6824229 w 7559674"/>
              <a:gd name="connsiteY229" fmla="*/ 604509 h 10691813"/>
              <a:gd name="connsiteX230" fmla="*/ 6818138 w 7559674"/>
              <a:gd name="connsiteY230" fmla="*/ 597584 h 10691813"/>
              <a:gd name="connsiteX231" fmla="*/ 6815987 w 7559674"/>
              <a:gd name="connsiteY231" fmla="*/ 568092 h 10691813"/>
              <a:gd name="connsiteX232" fmla="*/ 6912513 w 7559674"/>
              <a:gd name="connsiteY232" fmla="*/ 565107 h 10691813"/>
              <a:gd name="connsiteX233" fmla="*/ 6916574 w 7559674"/>
              <a:gd name="connsiteY233" fmla="*/ 584929 h 10691813"/>
              <a:gd name="connsiteX234" fmla="*/ 6907015 w 7559674"/>
              <a:gd name="connsiteY234" fmla="*/ 591854 h 10691813"/>
              <a:gd name="connsiteX235" fmla="*/ 6899245 w 7559674"/>
              <a:gd name="connsiteY235" fmla="*/ 566896 h 10691813"/>
              <a:gd name="connsiteX236" fmla="*/ 6912513 w 7559674"/>
              <a:gd name="connsiteY236" fmla="*/ 565107 h 10691813"/>
              <a:gd name="connsiteX237" fmla="*/ 6770122 w 7559674"/>
              <a:gd name="connsiteY237" fmla="*/ 558191 h 10691813"/>
              <a:gd name="connsiteX238" fmla="*/ 6787802 w 7559674"/>
              <a:gd name="connsiteY238" fmla="*/ 562966 h 10691813"/>
              <a:gd name="connsiteX239" fmla="*/ 6771559 w 7559674"/>
              <a:gd name="connsiteY239" fmla="*/ 597594 h 10691813"/>
              <a:gd name="connsiteX240" fmla="*/ 6763789 w 7559674"/>
              <a:gd name="connsiteY240" fmla="*/ 591503 h 10691813"/>
              <a:gd name="connsiteX241" fmla="*/ 6770122 w 7559674"/>
              <a:gd name="connsiteY241" fmla="*/ 558191 h 10691813"/>
              <a:gd name="connsiteX242" fmla="*/ 6749660 w 7559674"/>
              <a:gd name="connsiteY242" fmla="*/ 551642 h 10691813"/>
              <a:gd name="connsiteX243" fmla="*/ 6760934 w 7559674"/>
              <a:gd name="connsiteY243" fmla="*/ 555327 h 10691813"/>
              <a:gd name="connsiteX244" fmla="*/ 6753164 w 7559674"/>
              <a:gd name="connsiteY244" fmla="*/ 596277 h 10691813"/>
              <a:gd name="connsiteX245" fmla="*/ 6772634 w 7559674"/>
              <a:gd name="connsiteY245" fmla="*/ 606429 h 10691813"/>
              <a:gd name="connsiteX246" fmla="*/ 6796407 w 7559674"/>
              <a:gd name="connsiteY246" fmla="*/ 564876 h 10691813"/>
              <a:gd name="connsiteX247" fmla="*/ 6807634 w 7559674"/>
              <a:gd name="connsiteY247" fmla="*/ 566906 h 10691813"/>
              <a:gd name="connsiteX248" fmla="*/ 6811102 w 7559674"/>
              <a:gd name="connsiteY248" fmla="*/ 605826 h 10691813"/>
              <a:gd name="connsiteX249" fmla="*/ 6823285 w 7559674"/>
              <a:gd name="connsiteY249" fmla="*/ 613465 h 10691813"/>
              <a:gd name="connsiteX250" fmla="*/ 6876800 w 7559674"/>
              <a:gd name="connsiteY250" fmla="*/ 606781 h 10691813"/>
              <a:gd name="connsiteX251" fmla="*/ 6879785 w 7559674"/>
              <a:gd name="connsiteY251" fmla="*/ 569288 h 10691813"/>
              <a:gd name="connsiteX252" fmla="*/ 6890058 w 7559674"/>
              <a:gd name="connsiteY252" fmla="*/ 568092 h 10691813"/>
              <a:gd name="connsiteX253" fmla="*/ 6898662 w 7559674"/>
              <a:gd name="connsiteY253" fmla="*/ 592689 h 10691813"/>
              <a:gd name="connsiteX254" fmla="*/ 6916705 w 7559674"/>
              <a:gd name="connsiteY254" fmla="*/ 595795 h 10691813"/>
              <a:gd name="connsiteX255" fmla="*/ 6920404 w 7559674"/>
              <a:gd name="connsiteY255" fmla="*/ 564152 h 10691813"/>
              <a:gd name="connsiteX256" fmla="*/ 6941783 w 7559674"/>
              <a:gd name="connsiteY256" fmla="*/ 597232 h 10691813"/>
              <a:gd name="connsiteX257" fmla="*/ 6929842 w 7559674"/>
              <a:gd name="connsiteY257" fmla="*/ 646545 h 10691813"/>
              <a:gd name="connsiteX258" fmla="*/ 6859481 w 7559674"/>
              <a:gd name="connsiteY258" fmla="*/ 630905 h 10691813"/>
              <a:gd name="connsiteX259" fmla="*/ 6786968 w 7559674"/>
              <a:gd name="connsiteY259" fmla="*/ 670066 h 10691813"/>
              <a:gd name="connsiteX260" fmla="*/ 6783862 w 7559674"/>
              <a:gd name="connsiteY260" fmla="*/ 670900 h 10691813"/>
              <a:gd name="connsiteX261" fmla="*/ 6748621 w 7559674"/>
              <a:gd name="connsiteY261" fmla="*/ 645590 h 10691813"/>
              <a:gd name="connsiteX262" fmla="*/ 6721029 w 7559674"/>
              <a:gd name="connsiteY262" fmla="*/ 612279 h 10691813"/>
              <a:gd name="connsiteX263" fmla="*/ 6745284 w 7559674"/>
              <a:gd name="connsiteY263" fmla="*/ 554492 h 10691813"/>
              <a:gd name="connsiteX264" fmla="*/ 6749660 w 7559674"/>
              <a:gd name="connsiteY264" fmla="*/ 551642 h 10691813"/>
              <a:gd name="connsiteX265" fmla="*/ 6692584 w 7559674"/>
              <a:gd name="connsiteY265" fmla="*/ 538094 h 10691813"/>
              <a:gd name="connsiteX266" fmla="*/ 6681486 w 7559674"/>
              <a:gd name="connsiteY266" fmla="*/ 545989 h 10691813"/>
              <a:gd name="connsiteX267" fmla="*/ 6695910 w 7559674"/>
              <a:gd name="connsiteY267" fmla="*/ 538973 h 10691813"/>
              <a:gd name="connsiteX268" fmla="*/ 6692584 w 7559674"/>
              <a:gd name="connsiteY268" fmla="*/ 538094 h 10691813"/>
              <a:gd name="connsiteX269" fmla="*/ 6689121 w 7559674"/>
              <a:gd name="connsiteY269" fmla="*/ 523091 h 10691813"/>
              <a:gd name="connsiteX270" fmla="*/ 6712425 w 7559674"/>
              <a:gd name="connsiteY270" fmla="*/ 533113 h 10691813"/>
              <a:gd name="connsiteX271" fmla="*/ 6732730 w 7559674"/>
              <a:gd name="connsiteY271" fmla="*/ 554603 h 10691813"/>
              <a:gd name="connsiteX272" fmla="*/ 6709671 w 7559674"/>
              <a:gd name="connsiteY272" fmla="*/ 604992 h 10691813"/>
              <a:gd name="connsiteX273" fmla="*/ 6692111 w 7559674"/>
              <a:gd name="connsiteY273" fmla="*/ 577169 h 10691813"/>
              <a:gd name="connsiteX274" fmla="*/ 6667022 w 7559674"/>
              <a:gd name="connsiteY274" fmla="*/ 570002 h 10691813"/>
              <a:gd name="connsiteX275" fmla="*/ 6664630 w 7559674"/>
              <a:gd name="connsiteY275" fmla="*/ 558664 h 10691813"/>
              <a:gd name="connsiteX276" fmla="*/ 6671555 w 7559674"/>
              <a:gd name="connsiteY276" fmla="*/ 549346 h 10691813"/>
              <a:gd name="connsiteX277" fmla="*/ 6674068 w 7559674"/>
              <a:gd name="connsiteY277" fmla="*/ 538842 h 10691813"/>
              <a:gd name="connsiteX278" fmla="*/ 6684944 w 7559674"/>
              <a:gd name="connsiteY278" fmla="*/ 525353 h 10691813"/>
              <a:gd name="connsiteX279" fmla="*/ 6689121 w 7559674"/>
              <a:gd name="connsiteY279" fmla="*/ 523091 h 10691813"/>
              <a:gd name="connsiteX280" fmla="*/ 6660772 w 7559674"/>
              <a:gd name="connsiteY280" fmla="*/ 466477 h 10691813"/>
              <a:gd name="connsiteX281" fmla="*/ 6659011 w 7559674"/>
              <a:gd name="connsiteY281" fmla="*/ 473074 h 10691813"/>
              <a:gd name="connsiteX282" fmla="*/ 6671917 w 7559674"/>
              <a:gd name="connsiteY282" fmla="*/ 511763 h 10691813"/>
              <a:gd name="connsiteX283" fmla="*/ 6674902 w 7559674"/>
              <a:gd name="connsiteY283" fmla="*/ 521312 h 10691813"/>
              <a:gd name="connsiteX284" fmla="*/ 6664871 w 7559674"/>
              <a:gd name="connsiteY284" fmla="*/ 535636 h 10691813"/>
              <a:gd name="connsiteX285" fmla="*/ 6663795 w 7559674"/>
              <a:gd name="connsiteY285" fmla="*/ 542802 h 10691813"/>
              <a:gd name="connsiteX286" fmla="*/ 6652809 w 7559674"/>
              <a:gd name="connsiteY286" fmla="*/ 557608 h 10691813"/>
              <a:gd name="connsiteX287" fmla="*/ 6654478 w 7559674"/>
              <a:gd name="connsiteY287" fmla="*/ 569670 h 10691813"/>
              <a:gd name="connsiteX288" fmla="*/ 6664278 w 7559674"/>
              <a:gd name="connsiteY288" fmla="*/ 579822 h 10691813"/>
              <a:gd name="connsiteX289" fmla="*/ 6677415 w 7559674"/>
              <a:gd name="connsiteY289" fmla="*/ 581260 h 10691813"/>
              <a:gd name="connsiteX290" fmla="*/ 6692945 w 7559674"/>
              <a:gd name="connsiteY290" fmla="*/ 593443 h 10691813"/>
              <a:gd name="connsiteX291" fmla="*/ 6720657 w 7559674"/>
              <a:gd name="connsiteY291" fmla="*/ 641198 h 10691813"/>
              <a:gd name="connsiteX292" fmla="*/ 6726628 w 7559674"/>
              <a:gd name="connsiteY292" fmla="*/ 665432 h 10691813"/>
              <a:gd name="connsiteX293" fmla="*/ 6694855 w 7559674"/>
              <a:gd name="connsiteY293" fmla="*/ 760953 h 10691813"/>
              <a:gd name="connsiteX294" fmla="*/ 6696524 w 7559674"/>
              <a:gd name="connsiteY294" fmla="*/ 770623 h 10691813"/>
              <a:gd name="connsiteX295" fmla="*/ 6720899 w 7559674"/>
              <a:gd name="connsiteY295" fmla="*/ 770623 h 10691813"/>
              <a:gd name="connsiteX296" fmla="*/ 6726156 w 7559674"/>
              <a:gd name="connsiteY296" fmla="*/ 763697 h 10691813"/>
              <a:gd name="connsiteX297" fmla="*/ 6758653 w 7559674"/>
              <a:gd name="connsiteY297" fmla="*/ 667222 h 10691813"/>
              <a:gd name="connsiteX298" fmla="*/ 6791622 w 7559674"/>
              <a:gd name="connsiteY298" fmla="*/ 761787 h 10691813"/>
              <a:gd name="connsiteX299" fmla="*/ 6795090 w 7559674"/>
              <a:gd name="connsiteY299" fmla="*/ 770864 h 10691813"/>
              <a:gd name="connsiteX300" fmla="*/ 6815997 w 7559674"/>
              <a:gd name="connsiteY300" fmla="*/ 770864 h 10691813"/>
              <a:gd name="connsiteX301" fmla="*/ 6822802 w 7559674"/>
              <a:gd name="connsiteY301" fmla="*/ 764773 h 10691813"/>
              <a:gd name="connsiteX302" fmla="*/ 6800467 w 7559674"/>
              <a:gd name="connsiteY302" fmla="*/ 677374 h 10691813"/>
              <a:gd name="connsiteX303" fmla="*/ 6857571 w 7559674"/>
              <a:gd name="connsiteY303" fmla="*/ 655049 h 10691813"/>
              <a:gd name="connsiteX304" fmla="*/ 6889344 w 7559674"/>
              <a:gd name="connsiteY304" fmla="*/ 680007 h 10691813"/>
              <a:gd name="connsiteX305" fmla="*/ 6836181 w 7559674"/>
              <a:gd name="connsiteY305" fmla="*/ 761797 h 10691813"/>
              <a:gd name="connsiteX306" fmla="*/ 6838332 w 7559674"/>
              <a:gd name="connsiteY306" fmla="*/ 770633 h 10691813"/>
              <a:gd name="connsiteX307" fmla="*/ 6860435 w 7559674"/>
              <a:gd name="connsiteY307" fmla="*/ 770633 h 10691813"/>
              <a:gd name="connsiteX308" fmla="*/ 6868557 w 7559674"/>
              <a:gd name="connsiteY308" fmla="*/ 765496 h 10691813"/>
              <a:gd name="connsiteX309" fmla="*/ 6916584 w 7559674"/>
              <a:gd name="connsiteY309" fmla="*/ 688249 h 10691813"/>
              <a:gd name="connsiteX310" fmla="*/ 6925781 w 7559674"/>
              <a:gd name="connsiteY310" fmla="*/ 660195 h 10691813"/>
              <a:gd name="connsiteX311" fmla="*/ 6917056 w 7559674"/>
              <a:gd name="connsiteY311" fmla="*/ 761918 h 10691813"/>
              <a:gd name="connsiteX312" fmla="*/ 6919207 w 7559674"/>
              <a:gd name="connsiteY312" fmla="*/ 770512 h 10691813"/>
              <a:gd name="connsiteX313" fmla="*/ 6939160 w 7559674"/>
              <a:gd name="connsiteY313" fmla="*/ 770512 h 10691813"/>
              <a:gd name="connsiteX314" fmla="*/ 6945372 w 7559674"/>
              <a:gd name="connsiteY314" fmla="*/ 762873 h 10691813"/>
              <a:gd name="connsiteX315" fmla="*/ 6950146 w 7559674"/>
              <a:gd name="connsiteY315" fmla="*/ 746036 h 10691813"/>
              <a:gd name="connsiteX316" fmla="*/ 6968189 w 7559674"/>
              <a:gd name="connsiteY316" fmla="*/ 741382 h 10691813"/>
              <a:gd name="connsiteX317" fmla="*/ 6972853 w 7559674"/>
              <a:gd name="connsiteY317" fmla="*/ 734457 h 10691813"/>
              <a:gd name="connsiteX318" fmla="*/ 6968782 w 7559674"/>
              <a:gd name="connsiteY318" fmla="*/ 585653 h 10691813"/>
              <a:gd name="connsiteX319" fmla="*/ 6920997 w 7559674"/>
              <a:gd name="connsiteY319" fmla="*/ 554613 h 10691813"/>
              <a:gd name="connsiteX320" fmla="*/ 6849439 w 7559674"/>
              <a:gd name="connsiteY320" fmla="*/ 560101 h 10691813"/>
              <a:gd name="connsiteX321" fmla="*/ 6733443 w 7559674"/>
              <a:gd name="connsiteY321" fmla="*/ 533474 h 10691813"/>
              <a:gd name="connsiteX322" fmla="*/ 6733081 w 7559674"/>
              <a:gd name="connsiteY322" fmla="*/ 528218 h 10691813"/>
              <a:gd name="connsiteX323" fmla="*/ 6763186 w 7559674"/>
              <a:gd name="connsiteY323" fmla="*/ 504104 h 10691813"/>
              <a:gd name="connsiteX324" fmla="*/ 6760794 w 7559674"/>
              <a:gd name="connsiteY324" fmla="*/ 497661 h 10691813"/>
              <a:gd name="connsiteX325" fmla="*/ 6699871 w 7559674"/>
              <a:gd name="connsiteY325" fmla="*/ 508647 h 10691813"/>
              <a:gd name="connsiteX326" fmla="*/ 6664147 w 7559674"/>
              <a:gd name="connsiteY326" fmla="*/ 470803 h 10691813"/>
              <a:gd name="connsiteX327" fmla="*/ 6660772 w 7559674"/>
              <a:gd name="connsiteY327" fmla="*/ 466477 h 10691813"/>
              <a:gd name="connsiteX328" fmla="*/ 6723623 w 7559674"/>
              <a:gd name="connsiteY328" fmla="*/ 411619 h 10691813"/>
              <a:gd name="connsiteX329" fmla="*/ 6756110 w 7559674"/>
              <a:gd name="connsiteY329" fmla="*/ 444186 h 10691813"/>
              <a:gd name="connsiteX330" fmla="*/ 6723623 w 7559674"/>
              <a:gd name="connsiteY330" fmla="*/ 476753 h 10691813"/>
              <a:gd name="connsiteX331" fmla="*/ 6690895 w 7559674"/>
              <a:gd name="connsiteY331" fmla="*/ 444186 h 10691813"/>
              <a:gd name="connsiteX332" fmla="*/ 6723623 w 7559674"/>
              <a:gd name="connsiteY332" fmla="*/ 411619 h 10691813"/>
              <a:gd name="connsiteX333" fmla="*/ 6722195 w 7559674"/>
              <a:gd name="connsiteY333" fmla="*/ 400049 h 10691813"/>
              <a:gd name="connsiteX334" fmla="*/ 6673103 w 7559674"/>
              <a:gd name="connsiteY334" fmla="*/ 449322 h 10691813"/>
              <a:gd name="connsiteX335" fmla="*/ 6722195 w 7559674"/>
              <a:gd name="connsiteY335" fmla="*/ 498595 h 10691813"/>
              <a:gd name="connsiteX336" fmla="*/ 6771288 w 7559674"/>
              <a:gd name="connsiteY336" fmla="*/ 449322 h 10691813"/>
              <a:gd name="connsiteX337" fmla="*/ 6722195 w 7559674"/>
              <a:gd name="connsiteY337" fmla="*/ 400049 h 10691813"/>
              <a:gd name="connsiteX338" fmla="*/ 0 w 7559674"/>
              <a:gd name="connsiteY338" fmla="*/ 0 h 10691813"/>
              <a:gd name="connsiteX339" fmla="*/ 7559674 w 7559674"/>
              <a:gd name="connsiteY339" fmla="*/ 0 h 10691813"/>
              <a:gd name="connsiteX340" fmla="*/ 7559674 w 7559674"/>
              <a:gd name="connsiteY340" fmla="*/ 241299 h 10691813"/>
              <a:gd name="connsiteX341" fmla="*/ 7559674 w 7559674"/>
              <a:gd name="connsiteY341" fmla="*/ 1676399 h 10691813"/>
              <a:gd name="connsiteX342" fmla="*/ 7559674 w 7559674"/>
              <a:gd name="connsiteY342" fmla="*/ 10691813 h 10691813"/>
              <a:gd name="connsiteX343" fmla="*/ 0 w 7559674"/>
              <a:gd name="connsiteY343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</a:cxnLst>
            <a:rect l="l" t="t" r="r" b="b"/>
            <a:pathLst>
              <a:path w="7559674" h="10691813">
                <a:moveTo>
                  <a:pt x="6979537" y="805421"/>
                </a:moveTo>
                <a:cubicBezTo>
                  <a:pt x="6985960" y="805421"/>
                  <a:pt x="6988936" y="807452"/>
                  <a:pt x="6991438" y="809482"/>
                </a:cubicBezTo>
                <a:cubicBezTo>
                  <a:pt x="6991438" y="853337"/>
                  <a:pt x="6991438" y="853337"/>
                  <a:pt x="6991438" y="853337"/>
                </a:cubicBezTo>
                <a:lnTo>
                  <a:pt x="6991318" y="853337"/>
                </a:lnTo>
                <a:cubicBezTo>
                  <a:pt x="6991318" y="856564"/>
                  <a:pt x="6985960" y="858353"/>
                  <a:pt x="6980372" y="858353"/>
                </a:cubicBezTo>
                <a:cubicBezTo>
                  <a:pt x="6968350" y="858353"/>
                  <a:pt x="6959786" y="848191"/>
                  <a:pt x="6959786" y="830872"/>
                </a:cubicBezTo>
                <a:cubicBezTo>
                  <a:pt x="6959786" y="815573"/>
                  <a:pt x="6968119" y="805421"/>
                  <a:pt x="6979537" y="805421"/>
                </a:cubicBezTo>
                <a:close/>
                <a:moveTo>
                  <a:pt x="6874649" y="804667"/>
                </a:moveTo>
                <a:cubicBezTo>
                  <a:pt x="6879051" y="804667"/>
                  <a:pt x="6882268" y="805622"/>
                  <a:pt x="6885605" y="808849"/>
                </a:cubicBezTo>
                <a:cubicBezTo>
                  <a:pt x="6889183" y="812196"/>
                  <a:pt x="6891445" y="819614"/>
                  <a:pt x="6891445" y="831686"/>
                </a:cubicBezTo>
                <a:cubicBezTo>
                  <a:pt x="6891445" y="843406"/>
                  <a:pt x="6889183" y="851056"/>
                  <a:pt x="6885605" y="854403"/>
                </a:cubicBezTo>
                <a:cubicBezTo>
                  <a:pt x="6882268" y="857630"/>
                  <a:pt x="6879051" y="858464"/>
                  <a:pt x="6874649" y="858464"/>
                </a:cubicBezTo>
                <a:cubicBezTo>
                  <a:pt x="6870246" y="858464"/>
                  <a:pt x="6867261" y="857630"/>
                  <a:pt x="6863933" y="854403"/>
                </a:cubicBezTo>
                <a:cubicBezTo>
                  <a:pt x="6860476" y="851056"/>
                  <a:pt x="6858093" y="843638"/>
                  <a:pt x="6858093" y="831686"/>
                </a:cubicBezTo>
                <a:cubicBezTo>
                  <a:pt x="6858093" y="819845"/>
                  <a:pt x="6860476" y="812196"/>
                  <a:pt x="6863933" y="808849"/>
                </a:cubicBezTo>
                <a:cubicBezTo>
                  <a:pt x="6867271" y="805622"/>
                  <a:pt x="6870487" y="804667"/>
                  <a:pt x="6874649" y="804667"/>
                </a:cubicBezTo>
                <a:close/>
                <a:moveTo>
                  <a:pt x="6722185" y="804667"/>
                </a:moveTo>
                <a:cubicBezTo>
                  <a:pt x="6726618" y="804667"/>
                  <a:pt x="6729603" y="805622"/>
                  <a:pt x="6732951" y="808849"/>
                </a:cubicBezTo>
                <a:cubicBezTo>
                  <a:pt x="6736539" y="812196"/>
                  <a:pt x="6738811" y="819614"/>
                  <a:pt x="6738811" y="831686"/>
                </a:cubicBezTo>
                <a:cubicBezTo>
                  <a:pt x="6738811" y="843406"/>
                  <a:pt x="6736539" y="851056"/>
                  <a:pt x="6732951" y="854403"/>
                </a:cubicBezTo>
                <a:cubicBezTo>
                  <a:pt x="6729603" y="857630"/>
                  <a:pt x="6726377" y="858464"/>
                  <a:pt x="6722185" y="858464"/>
                </a:cubicBezTo>
                <a:cubicBezTo>
                  <a:pt x="6717763" y="858464"/>
                  <a:pt x="6714767" y="857630"/>
                  <a:pt x="6711179" y="854403"/>
                </a:cubicBezTo>
                <a:cubicBezTo>
                  <a:pt x="6707711" y="851056"/>
                  <a:pt x="6705319" y="843638"/>
                  <a:pt x="6705319" y="831686"/>
                </a:cubicBezTo>
                <a:cubicBezTo>
                  <a:pt x="6705319" y="819845"/>
                  <a:pt x="6707711" y="812196"/>
                  <a:pt x="6711179" y="808849"/>
                </a:cubicBezTo>
                <a:cubicBezTo>
                  <a:pt x="6714526" y="805622"/>
                  <a:pt x="6717753" y="804667"/>
                  <a:pt x="6722185" y="804667"/>
                </a:cubicBezTo>
                <a:close/>
                <a:moveTo>
                  <a:pt x="6608079" y="804667"/>
                </a:moveTo>
                <a:cubicBezTo>
                  <a:pt x="6612502" y="804667"/>
                  <a:pt x="6615497" y="805622"/>
                  <a:pt x="6618965" y="808849"/>
                </a:cubicBezTo>
                <a:cubicBezTo>
                  <a:pt x="6622443" y="812196"/>
                  <a:pt x="6624825" y="819614"/>
                  <a:pt x="6624825" y="831686"/>
                </a:cubicBezTo>
                <a:cubicBezTo>
                  <a:pt x="6624825" y="843406"/>
                  <a:pt x="6622554" y="851056"/>
                  <a:pt x="6618965" y="854403"/>
                </a:cubicBezTo>
                <a:cubicBezTo>
                  <a:pt x="6615618" y="857630"/>
                  <a:pt x="6612502" y="858464"/>
                  <a:pt x="6608079" y="858464"/>
                </a:cubicBezTo>
                <a:cubicBezTo>
                  <a:pt x="6603656" y="858464"/>
                  <a:pt x="6600661" y="857630"/>
                  <a:pt x="6597314" y="854403"/>
                </a:cubicBezTo>
                <a:cubicBezTo>
                  <a:pt x="6593725" y="851056"/>
                  <a:pt x="6591454" y="843638"/>
                  <a:pt x="6591454" y="831686"/>
                </a:cubicBezTo>
                <a:cubicBezTo>
                  <a:pt x="6591454" y="819845"/>
                  <a:pt x="6593725" y="812196"/>
                  <a:pt x="6597314" y="808849"/>
                </a:cubicBezTo>
                <a:cubicBezTo>
                  <a:pt x="6600661" y="805622"/>
                  <a:pt x="6603777" y="804667"/>
                  <a:pt x="6608079" y="804667"/>
                </a:cubicBezTo>
                <a:close/>
                <a:moveTo>
                  <a:pt x="7019101" y="799129"/>
                </a:moveTo>
                <a:cubicBezTo>
                  <a:pt x="7016970" y="799129"/>
                  <a:pt x="7016970" y="799843"/>
                  <a:pt x="7016970" y="801391"/>
                </a:cubicBezTo>
                <a:cubicBezTo>
                  <a:pt x="7016970" y="861570"/>
                  <a:pt x="7016970" y="861570"/>
                  <a:pt x="7016970" y="861570"/>
                </a:cubicBezTo>
                <a:cubicBezTo>
                  <a:pt x="7016970" y="863359"/>
                  <a:pt x="7016970" y="863831"/>
                  <a:pt x="7018869" y="863831"/>
                </a:cubicBezTo>
                <a:cubicBezTo>
                  <a:pt x="7025624" y="863831"/>
                  <a:pt x="7025624" y="863831"/>
                  <a:pt x="7025624" y="863831"/>
                </a:cubicBezTo>
                <a:cubicBezTo>
                  <a:pt x="7027514" y="863711"/>
                  <a:pt x="7027986" y="863711"/>
                  <a:pt x="7027986" y="861570"/>
                </a:cubicBezTo>
                <a:cubicBezTo>
                  <a:pt x="7027986" y="801391"/>
                  <a:pt x="7027986" y="801391"/>
                  <a:pt x="7027986" y="801391"/>
                </a:cubicBezTo>
                <a:cubicBezTo>
                  <a:pt x="7027986" y="799481"/>
                  <a:pt x="7027514" y="799129"/>
                  <a:pt x="7025614" y="799129"/>
                </a:cubicBezTo>
                <a:cubicBezTo>
                  <a:pt x="7019101" y="799129"/>
                  <a:pt x="7019101" y="799129"/>
                  <a:pt x="7019101" y="799129"/>
                </a:cubicBezTo>
                <a:close/>
                <a:moveTo>
                  <a:pt x="7128885" y="798817"/>
                </a:moveTo>
                <a:cubicBezTo>
                  <a:pt x="7126613" y="798817"/>
                  <a:pt x="7125768" y="798697"/>
                  <a:pt x="7125055" y="800848"/>
                </a:cubicBezTo>
                <a:cubicBezTo>
                  <a:pt x="7121466" y="811583"/>
                  <a:pt x="7112239" y="823162"/>
                  <a:pt x="7102901" y="828651"/>
                </a:cubicBezTo>
                <a:cubicBezTo>
                  <a:pt x="7102539" y="829012"/>
                  <a:pt x="7102419" y="829364"/>
                  <a:pt x="7102419" y="829364"/>
                </a:cubicBezTo>
                <a:cubicBezTo>
                  <a:pt x="7102419" y="829485"/>
                  <a:pt x="7102539" y="829837"/>
                  <a:pt x="7102539" y="830078"/>
                </a:cubicBezTo>
                <a:cubicBezTo>
                  <a:pt x="7124814" y="861932"/>
                  <a:pt x="7124814" y="861932"/>
                  <a:pt x="7124814" y="861932"/>
                </a:cubicBezTo>
                <a:cubicBezTo>
                  <a:pt x="7126130" y="863841"/>
                  <a:pt x="7126613" y="863841"/>
                  <a:pt x="7128523" y="863841"/>
                </a:cubicBezTo>
                <a:cubicBezTo>
                  <a:pt x="7137026" y="863841"/>
                  <a:pt x="7137026" y="863841"/>
                  <a:pt x="7137026" y="863841"/>
                </a:cubicBezTo>
                <a:cubicBezTo>
                  <a:pt x="7137619" y="863711"/>
                  <a:pt x="7138816" y="863711"/>
                  <a:pt x="7138816" y="862283"/>
                </a:cubicBezTo>
                <a:cubicBezTo>
                  <a:pt x="7138816" y="861811"/>
                  <a:pt x="7138454" y="861208"/>
                  <a:pt x="7137981" y="860735"/>
                </a:cubicBezTo>
                <a:cubicBezTo>
                  <a:pt x="7114269" y="829354"/>
                  <a:pt x="7114269" y="829354"/>
                  <a:pt x="7114269" y="829354"/>
                </a:cubicBezTo>
                <a:cubicBezTo>
                  <a:pt x="7114028" y="829113"/>
                  <a:pt x="7114028" y="829113"/>
                  <a:pt x="7114028" y="829113"/>
                </a:cubicBezTo>
                <a:cubicBezTo>
                  <a:pt x="7122411" y="822911"/>
                  <a:pt x="7131036" y="813241"/>
                  <a:pt x="7136423" y="802747"/>
                </a:cubicBezTo>
                <a:cubicBezTo>
                  <a:pt x="7136906" y="801551"/>
                  <a:pt x="7137026" y="800958"/>
                  <a:pt x="7137026" y="800245"/>
                </a:cubicBezTo>
                <a:cubicBezTo>
                  <a:pt x="7137026" y="799169"/>
                  <a:pt x="7136423" y="798817"/>
                  <a:pt x="7134755" y="798817"/>
                </a:cubicBezTo>
                <a:cubicBezTo>
                  <a:pt x="7128885" y="798817"/>
                  <a:pt x="7128885" y="798817"/>
                  <a:pt x="7128885" y="798817"/>
                </a:cubicBezTo>
                <a:close/>
                <a:moveTo>
                  <a:pt x="6639913" y="798817"/>
                </a:moveTo>
                <a:cubicBezTo>
                  <a:pt x="6639430" y="798817"/>
                  <a:pt x="6638234" y="798817"/>
                  <a:pt x="6638234" y="800486"/>
                </a:cubicBezTo>
                <a:cubicBezTo>
                  <a:pt x="6638234" y="800968"/>
                  <a:pt x="6638355" y="801561"/>
                  <a:pt x="6638717" y="802275"/>
                </a:cubicBezTo>
                <a:cubicBezTo>
                  <a:pt x="6661313" y="861911"/>
                  <a:pt x="6661313" y="861911"/>
                  <a:pt x="6661313" y="861911"/>
                </a:cubicBezTo>
                <a:cubicBezTo>
                  <a:pt x="6662026" y="863349"/>
                  <a:pt x="6662267" y="863821"/>
                  <a:pt x="6663343" y="863821"/>
                </a:cubicBezTo>
                <a:cubicBezTo>
                  <a:pt x="6668248" y="863821"/>
                  <a:pt x="6668248" y="863821"/>
                  <a:pt x="6668248" y="863821"/>
                </a:cubicBezTo>
                <a:cubicBezTo>
                  <a:pt x="6669686" y="863821"/>
                  <a:pt x="6670037" y="863580"/>
                  <a:pt x="6670520" y="861911"/>
                </a:cubicBezTo>
                <a:cubicBezTo>
                  <a:pt x="6692523" y="802044"/>
                  <a:pt x="6692523" y="802044"/>
                  <a:pt x="6692523" y="802044"/>
                </a:cubicBezTo>
                <a:cubicBezTo>
                  <a:pt x="6692764" y="800606"/>
                  <a:pt x="6692764" y="800486"/>
                  <a:pt x="6692764" y="800134"/>
                </a:cubicBezTo>
                <a:cubicBezTo>
                  <a:pt x="6692764" y="798817"/>
                  <a:pt x="6691809" y="798817"/>
                  <a:pt x="6691206" y="798817"/>
                </a:cubicBezTo>
                <a:cubicBezTo>
                  <a:pt x="6684984" y="798817"/>
                  <a:pt x="6684984" y="798817"/>
                  <a:pt x="6684984" y="798817"/>
                </a:cubicBezTo>
                <a:cubicBezTo>
                  <a:pt x="6684150" y="799059"/>
                  <a:pt x="6684029" y="799410"/>
                  <a:pt x="6683426" y="800606"/>
                </a:cubicBezTo>
                <a:cubicBezTo>
                  <a:pt x="6667163" y="848412"/>
                  <a:pt x="6667163" y="848412"/>
                  <a:pt x="6667163" y="848412"/>
                </a:cubicBezTo>
                <a:cubicBezTo>
                  <a:pt x="6650427" y="800848"/>
                  <a:pt x="6650427" y="800848"/>
                  <a:pt x="6650427" y="800848"/>
                </a:cubicBezTo>
                <a:cubicBezTo>
                  <a:pt x="6649713" y="799059"/>
                  <a:pt x="6649472" y="798817"/>
                  <a:pt x="6647562" y="798817"/>
                </a:cubicBezTo>
                <a:cubicBezTo>
                  <a:pt x="6639913" y="798817"/>
                  <a:pt x="6639913" y="798817"/>
                  <a:pt x="6639913" y="798817"/>
                </a:cubicBezTo>
                <a:close/>
                <a:moveTo>
                  <a:pt x="7061539" y="797732"/>
                </a:moveTo>
                <a:cubicBezTo>
                  <a:pt x="7050291" y="797732"/>
                  <a:pt x="7040129" y="803954"/>
                  <a:pt x="7040129" y="815543"/>
                </a:cubicBezTo>
                <a:cubicBezTo>
                  <a:pt x="7040129" y="826419"/>
                  <a:pt x="7047788" y="830962"/>
                  <a:pt x="7056995" y="834913"/>
                </a:cubicBezTo>
                <a:cubicBezTo>
                  <a:pt x="7064172" y="837898"/>
                  <a:pt x="7070867" y="840773"/>
                  <a:pt x="7070867" y="847467"/>
                </a:cubicBezTo>
                <a:cubicBezTo>
                  <a:pt x="7070867" y="852604"/>
                  <a:pt x="7066796" y="858464"/>
                  <a:pt x="7058071" y="858464"/>
                </a:cubicBezTo>
                <a:cubicBezTo>
                  <a:pt x="7049215" y="858464"/>
                  <a:pt x="7046712" y="851890"/>
                  <a:pt x="7042400" y="851890"/>
                </a:cubicBezTo>
                <a:cubicBezTo>
                  <a:pt x="7040370" y="851890"/>
                  <a:pt x="7037736" y="852845"/>
                  <a:pt x="7037736" y="856071"/>
                </a:cubicBezTo>
                <a:cubicBezTo>
                  <a:pt x="7037736" y="861208"/>
                  <a:pt x="7047788" y="865641"/>
                  <a:pt x="7057830" y="865641"/>
                </a:cubicBezTo>
                <a:cubicBezTo>
                  <a:pt x="7069188" y="865761"/>
                  <a:pt x="7080798" y="859780"/>
                  <a:pt x="7080798" y="846271"/>
                </a:cubicBezTo>
                <a:cubicBezTo>
                  <a:pt x="7080798" y="825112"/>
                  <a:pt x="7050060" y="828460"/>
                  <a:pt x="7050060" y="814468"/>
                </a:cubicBezTo>
                <a:cubicBezTo>
                  <a:pt x="7050060" y="809683"/>
                  <a:pt x="7053769" y="804899"/>
                  <a:pt x="7060825" y="804899"/>
                </a:cubicBezTo>
                <a:cubicBezTo>
                  <a:pt x="7068122" y="804899"/>
                  <a:pt x="7070032" y="809683"/>
                  <a:pt x="7073741" y="809683"/>
                </a:cubicBezTo>
                <a:cubicBezTo>
                  <a:pt x="7075651" y="809683"/>
                  <a:pt x="7078405" y="808608"/>
                  <a:pt x="7078405" y="805260"/>
                </a:cubicBezTo>
                <a:cubicBezTo>
                  <a:pt x="7078405" y="800476"/>
                  <a:pt x="7070273" y="797732"/>
                  <a:pt x="7061539" y="797732"/>
                </a:cubicBezTo>
                <a:close/>
                <a:moveTo>
                  <a:pt x="6931149" y="797370"/>
                </a:moveTo>
                <a:cubicBezTo>
                  <a:pt x="6924464" y="797370"/>
                  <a:pt x="6920283" y="798445"/>
                  <a:pt x="6916936" y="799280"/>
                </a:cubicBezTo>
                <a:cubicBezTo>
                  <a:pt x="6912634" y="800355"/>
                  <a:pt x="6911086" y="802376"/>
                  <a:pt x="6911086" y="804396"/>
                </a:cubicBezTo>
                <a:cubicBezTo>
                  <a:pt x="6911086" y="861449"/>
                  <a:pt x="6911086" y="861449"/>
                  <a:pt x="6911086" y="861449"/>
                </a:cubicBezTo>
                <a:cubicBezTo>
                  <a:pt x="6911086" y="863359"/>
                  <a:pt x="6911799" y="863469"/>
                  <a:pt x="6913599" y="863469"/>
                </a:cubicBezTo>
                <a:cubicBezTo>
                  <a:pt x="6919931" y="863469"/>
                  <a:pt x="6919931" y="863469"/>
                  <a:pt x="6919931" y="863469"/>
                </a:cubicBezTo>
                <a:cubicBezTo>
                  <a:pt x="6921479" y="863469"/>
                  <a:pt x="6922203" y="863349"/>
                  <a:pt x="6922203" y="861449"/>
                </a:cubicBezTo>
                <a:cubicBezTo>
                  <a:pt x="6922203" y="809160"/>
                  <a:pt x="6922203" y="809160"/>
                  <a:pt x="6922203" y="809160"/>
                </a:cubicBezTo>
                <a:cubicBezTo>
                  <a:pt x="6922203" y="805823"/>
                  <a:pt x="6924826" y="803562"/>
                  <a:pt x="6928535" y="803562"/>
                </a:cubicBezTo>
                <a:cubicBezTo>
                  <a:pt x="6936536" y="803562"/>
                  <a:pt x="6937733" y="809402"/>
                  <a:pt x="6942035" y="809402"/>
                </a:cubicBezTo>
                <a:cubicBezTo>
                  <a:pt x="6945120" y="809522"/>
                  <a:pt x="6947513" y="807613"/>
                  <a:pt x="6947513" y="803924"/>
                </a:cubicBezTo>
                <a:cubicBezTo>
                  <a:pt x="6947513" y="799280"/>
                  <a:pt x="6939874" y="797370"/>
                  <a:pt x="6931149" y="797370"/>
                </a:cubicBezTo>
                <a:close/>
                <a:moveTo>
                  <a:pt x="6874659" y="797370"/>
                </a:moveTo>
                <a:cubicBezTo>
                  <a:pt x="6869060" y="797370"/>
                  <a:pt x="6863109" y="799048"/>
                  <a:pt x="6858465" y="802034"/>
                </a:cubicBezTo>
                <a:cubicBezTo>
                  <a:pt x="6851319" y="807060"/>
                  <a:pt x="6846554" y="816619"/>
                  <a:pt x="6846554" y="831686"/>
                </a:cubicBezTo>
                <a:cubicBezTo>
                  <a:pt x="6846554" y="846633"/>
                  <a:pt x="6851319" y="856202"/>
                  <a:pt x="6858465" y="861218"/>
                </a:cubicBezTo>
                <a:cubicBezTo>
                  <a:pt x="6862868" y="864324"/>
                  <a:pt x="6868949" y="865761"/>
                  <a:pt x="6874659" y="865761"/>
                </a:cubicBezTo>
                <a:cubicBezTo>
                  <a:pt x="6880499" y="865761"/>
                  <a:pt x="6886449" y="864203"/>
                  <a:pt x="6890852" y="861218"/>
                </a:cubicBezTo>
                <a:cubicBezTo>
                  <a:pt x="6898119" y="856192"/>
                  <a:pt x="6902884" y="846633"/>
                  <a:pt x="6902884" y="831686"/>
                </a:cubicBezTo>
                <a:cubicBezTo>
                  <a:pt x="6902884" y="816619"/>
                  <a:pt x="6898119" y="807060"/>
                  <a:pt x="6890852" y="802034"/>
                </a:cubicBezTo>
                <a:cubicBezTo>
                  <a:pt x="6886328" y="798807"/>
                  <a:pt x="6880368" y="797370"/>
                  <a:pt x="6874659" y="797370"/>
                </a:cubicBezTo>
                <a:close/>
                <a:moveTo>
                  <a:pt x="6811695" y="797370"/>
                </a:moveTo>
                <a:cubicBezTo>
                  <a:pt x="6802186" y="797370"/>
                  <a:pt x="6795763" y="799400"/>
                  <a:pt x="6792316" y="800476"/>
                </a:cubicBezTo>
                <a:cubicBezTo>
                  <a:pt x="6788034" y="801913"/>
                  <a:pt x="6786727" y="803461"/>
                  <a:pt x="6786727" y="805612"/>
                </a:cubicBezTo>
                <a:cubicBezTo>
                  <a:pt x="6786727" y="861550"/>
                  <a:pt x="6786727" y="861550"/>
                  <a:pt x="6786727" y="861550"/>
                </a:cubicBezTo>
                <a:cubicBezTo>
                  <a:pt x="6786727" y="863580"/>
                  <a:pt x="6787199" y="863821"/>
                  <a:pt x="6789109" y="863821"/>
                </a:cubicBezTo>
                <a:cubicBezTo>
                  <a:pt x="6795291" y="863821"/>
                  <a:pt x="6795291" y="863821"/>
                  <a:pt x="6795291" y="863821"/>
                </a:cubicBezTo>
                <a:cubicBezTo>
                  <a:pt x="6797070" y="863821"/>
                  <a:pt x="6797904" y="863580"/>
                  <a:pt x="6797904" y="861308"/>
                </a:cubicBezTo>
                <a:cubicBezTo>
                  <a:pt x="6797904" y="809794"/>
                  <a:pt x="6797904" y="809794"/>
                  <a:pt x="6797904" y="809794"/>
                </a:cubicBezTo>
                <a:cubicBezTo>
                  <a:pt x="6797904" y="807040"/>
                  <a:pt x="6802659" y="804175"/>
                  <a:pt x="6811343" y="804175"/>
                </a:cubicBezTo>
                <a:cubicBezTo>
                  <a:pt x="6825848" y="804175"/>
                  <a:pt x="6825848" y="813613"/>
                  <a:pt x="6825848" y="819474"/>
                </a:cubicBezTo>
                <a:cubicBezTo>
                  <a:pt x="6825848" y="861308"/>
                  <a:pt x="6825848" y="861308"/>
                  <a:pt x="6825848" y="861308"/>
                </a:cubicBezTo>
                <a:cubicBezTo>
                  <a:pt x="6825848" y="863580"/>
                  <a:pt x="6826561" y="863821"/>
                  <a:pt x="6828703" y="863821"/>
                </a:cubicBezTo>
                <a:cubicBezTo>
                  <a:pt x="6835598" y="863821"/>
                  <a:pt x="6835598" y="863821"/>
                  <a:pt x="6835598" y="863821"/>
                </a:cubicBezTo>
                <a:cubicBezTo>
                  <a:pt x="6836784" y="863590"/>
                  <a:pt x="6836784" y="862394"/>
                  <a:pt x="6836784" y="861318"/>
                </a:cubicBezTo>
                <a:cubicBezTo>
                  <a:pt x="6836784" y="818046"/>
                  <a:pt x="6836784" y="818046"/>
                  <a:pt x="6836784" y="818046"/>
                </a:cubicBezTo>
                <a:cubicBezTo>
                  <a:pt x="6836784" y="810517"/>
                  <a:pt x="6836543" y="797370"/>
                  <a:pt x="6811695" y="797370"/>
                </a:cubicBezTo>
                <a:close/>
                <a:moveTo>
                  <a:pt x="6721954" y="797370"/>
                </a:moveTo>
                <a:cubicBezTo>
                  <a:pt x="6716215" y="797370"/>
                  <a:pt x="6710355" y="799048"/>
                  <a:pt x="6705691" y="802034"/>
                </a:cubicBezTo>
                <a:cubicBezTo>
                  <a:pt x="6698514" y="807060"/>
                  <a:pt x="6693729" y="816619"/>
                  <a:pt x="6693729" y="831686"/>
                </a:cubicBezTo>
                <a:cubicBezTo>
                  <a:pt x="6693729" y="846633"/>
                  <a:pt x="6698514" y="856202"/>
                  <a:pt x="6705691" y="861218"/>
                </a:cubicBezTo>
                <a:cubicBezTo>
                  <a:pt x="6710113" y="864324"/>
                  <a:pt x="6716215" y="865761"/>
                  <a:pt x="6721954" y="865761"/>
                </a:cubicBezTo>
                <a:cubicBezTo>
                  <a:pt x="6727814" y="865761"/>
                  <a:pt x="6733674" y="864203"/>
                  <a:pt x="6738218" y="861218"/>
                </a:cubicBezTo>
                <a:cubicBezTo>
                  <a:pt x="6745515" y="856192"/>
                  <a:pt x="6750300" y="846633"/>
                  <a:pt x="6750300" y="831686"/>
                </a:cubicBezTo>
                <a:cubicBezTo>
                  <a:pt x="6750300" y="816619"/>
                  <a:pt x="6745515" y="807060"/>
                  <a:pt x="6738218" y="802034"/>
                </a:cubicBezTo>
                <a:cubicBezTo>
                  <a:pt x="6733916" y="798807"/>
                  <a:pt x="6727814" y="797370"/>
                  <a:pt x="6721954" y="797370"/>
                </a:cubicBezTo>
                <a:close/>
                <a:moveTo>
                  <a:pt x="6608089" y="797370"/>
                </a:moveTo>
                <a:cubicBezTo>
                  <a:pt x="6602350" y="797370"/>
                  <a:pt x="6596369" y="799048"/>
                  <a:pt x="6591826" y="802034"/>
                </a:cubicBezTo>
                <a:cubicBezTo>
                  <a:pt x="6584528" y="807060"/>
                  <a:pt x="6579744" y="816619"/>
                  <a:pt x="6579744" y="831686"/>
                </a:cubicBezTo>
                <a:cubicBezTo>
                  <a:pt x="6579744" y="846633"/>
                  <a:pt x="6584528" y="856202"/>
                  <a:pt x="6591826" y="861218"/>
                </a:cubicBezTo>
                <a:cubicBezTo>
                  <a:pt x="6596248" y="864324"/>
                  <a:pt x="6602229" y="865761"/>
                  <a:pt x="6608089" y="865761"/>
                </a:cubicBezTo>
                <a:cubicBezTo>
                  <a:pt x="6613949" y="865761"/>
                  <a:pt x="6619689" y="864203"/>
                  <a:pt x="6624353" y="861218"/>
                </a:cubicBezTo>
                <a:cubicBezTo>
                  <a:pt x="6631530" y="856192"/>
                  <a:pt x="6636314" y="846633"/>
                  <a:pt x="6636314" y="831686"/>
                </a:cubicBezTo>
                <a:cubicBezTo>
                  <a:pt x="6636314" y="816619"/>
                  <a:pt x="6631530" y="807060"/>
                  <a:pt x="6624353" y="802034"/>
                </a:cubicBezTo>
                <a:cubicBezTo>
                  <a:pt x="6619689" y="798807"/>
                  <a:pt x="6613949" y="797370"/>
                  <a:pt x="6608089" y="797370"/>
                </a:cubicBezTo>
                <a:close/>
                <a:moveTo>
                  <a:pt x="6545005" y="797370"/>
                </a:moveTo>
                <a:cubicBezTo>
                  <a:pt x="6535446" y="797370"/>
                  <a:pt x="6529114" y="799400"/>
                  <a:pt x="6525535" y="800476"/>
                </a:cubicBezTo>
                <a:cubicBezTo>
                  <a:pt x="6521354" y="801913"/>
                  <a:pt x="6519916" y="803461"/>
                  <a:pt x="6519916" y="805612"/>
                </a:cubicBezTo>
                <a:cubicBezTo>
                  <a:pt x="6519916" y="861550"/>
                  <a:pt x="6519916" y="861550"/>
                  <a:pt x="6519916" y="861550"/>
                </a:cubicBezTo>
                <a:cubicBezTo>
                  <a:pt x="6519916" y="863580"/>
                  <a:pt x="6520399" y="863821"/>
                  <a:pt x="6522188" y="863821"/>
                </a:cubicBezTo>
                <a:cubicBezTo>
                  <a:pt x="6528400" y="863821"/>
                  <a:pt x="6528400" y="863821"/>
                  <a:pt x="6528400" y="863821"/>
                </a:cubicBezTo>
                <a:cubicBezTo>
                  <a:pt x="6530189" y="863821"/>
                  <a:pt x="6531023" y="863580"/>
                  <a:pt x="6531023" y="861308"/>
                </a:cubicBezTo>
                <a:cubicBezTo>
                  <a:pt x="6531023" y="809794"/>
                  <a:pt x="6531023" y="809794"/>
                  <a:pt x="6531023" y="809794"/>
                </a:cubicBezTo>
                <a:cubicBezTo>
                  <a:pt x="6531023" y="807040"/>
                  <a:pt x="6535798" y="804175"/>
                  <a:pt x="6544523" y="804175"/>
                </a:cubicBezTo>
                <a:cubicBezTo>
                  <a:pt x="6559098" y="804175"/>
                  <a:pt x="6559098" y="813613"/>
                  <a:pt x="6559098" y="819474"/>
                </a:cubicBezTo>
                <a:cubicBezTo>
                  <a:pt x="6559098" y="861308"/>
                  <a:pt x="6559098" y="861308"/>
                  <a:pt x="6559098" y="861308"/>
                </a:cubicBezTo>
                <a:cubicBezTo>
                  <a:pt x="6559098" y="863580"/>
                  <a:pt x="6559811" y="863821"/>
                  <a:pt x="6561962" y="863821"/>
                </a:cubicBezTo>
                <a:cubicBezTo>
                  <a:pt x="6568888" y="863821"/>
                  <a:pt x="6568888" y="863821"/>
                  <a:pt x="6568888" y="863821"/>
                </a:cubicBezTo>
                <a:cubicBezTo>
                  <a:pt x="6570094" y="863590"/>
                  <a:pt x="6570215" y="862394"/>
                  <a:pt x="6570215" y="861318"/>
                </a:cubicBezTo>
                <a:cubicBezTo>
                  <a:pt x="6570215" y="818046"/>
                  <a:pt x="6570215" y="818046"/>
                  <a:pt x="6570215" y="818046"/>
                </a:cubicBezTo>
                <a:cubicBezTo>
                  <a:pt x="6570215" y="810517"/>
                  <a:pt x="6570094" y="797370"/>
                  <a:pt x="6545005" y="797370"/>
                </a:cubicBezTo>
                <a:close/>
                <a:moveTo>
                  <a:pt x="6993580" y="775648"/>
                </a:moveTo>
                <a:cubicBezTo>
                  <a:pt x="6991438" y="775648"/>
                  <a:pt x="6991318" y="776362"/>
                  <a:pt x="6991318" y="778513"/>
                </a:cubicBezTo>
                <a:cubicBezTo>
                  <a:pt x="6991318" y="801220"/>
                  <a:pt x="6991318" y="801220"/>
                  <a:pt x="6991318" y="801220"/>
                </a:cubicBezTo>
                <a:cubicBezTo>
                  <a:pt x="6987388" y="799189"/>
                  <a:pt x="6983578" y="797752"/>
                  <a:pt x="6977748" y="797752"/>
                </a:cubicBezTo>
                <a:cubicBezTo>
                  <a:pt x="6958348" y="797752"/>
                  <a:pt x="6948468" y="816277"/>
                  <a:pt x="6948468" y="831686"/>
                </a:cubicBezTo>
                <a:cubicBezTo>
                  <a:pt x="6948468" y="854634"/>
                  <a:pt x="6960962" y="865741"/>
                  <a:pt x="6980010" y="865741"/>
                </a:cubicBezTo>
                <a:cubicBezTo>
                  <a:pt x="6989177" y="865761"/>
                  <a:pt x="7002154" y="861218"/>
                  <a:pt x="7002154" y="856916"/>
                </a:cubicBezTo>
                <a:cubicBezTo>
                  <a:pt x="7002154" y="778161"/>
                  <a:pt x="7002154" y="778161"/>
                  <a:pt x="7002154" y="778161"/>
                </a:cubicBezTo>
                <a:cubicBezTo>
                  <a:pt x="7002154" y="775769"/>
                  <a:pt x="7001440" y="775648"/>
                  <a:pt x="6999771" y="775648"/>
                </a:cubicBezTo>
                <a:cubicBezTo>
                  <a:pt x="6993580" y="775648"/>
                  <a:pt x="6993580" y="775648"/>
                  <a:pt x="6993580" y="775648"/>
                </a:cubicBezTo>
                <a:close/>
                <a:moveTo>
                  <a:pt x="7091884" y="775417"/>
                </a:moveTo>
                <a:cubicBezTo>
                  <a:pt x="7090568" y="775417"/>
                  <a:pt x="7089844" y="775659"/>
                  <a:pt x="7089844" y="777448"/>
                </a:cubicBezTo>
                <a:cubicBezTo>
                  <a:pt x="7089844" y="861801"/>
                  <a:pt x="7089844" y="861801"/>
                  <a:pt x="7089844" y="861801"/>
                </a:cubicBezTo>
                <a:cubicBezTo>
                  <a:pt x="7089844" y="863469"/>
                  <a:pt x="7090206" y="863711"/>
                  <a:pt x="7091884" y="863711"/>
                </a:cubicBezTo>
                <a:cubicBezTo>
                  <a:pt x="7098468" y="863711"/>
                  <a:pt x="7098468" y="863711"/>
                  <a:pt x="7098468" y="863711"/>
                </a:cubicBezTo>
                <a:cubicBezTo>
                  <a:pt x="7100016" y="863711"/>
                  <a:pt x="7100740" y="863711"/>
                  <a:pt x="7100740" y="861921"/>
                </a:cubicBezTo>
                <a:cubicBezTo>
                  <a:pt x="7100740" y="777206"/>
                  <a:pt x="7100740" y="777206"/>
                  <a:pt x="7100740" y="777206"/>
                </a:cubicBezTo>
                <a:cubicBezTo>
                  <a:pt x="7100740" y="775417"/>
                  <a:pt x="7099906" y="775417"/>
                  <a:pt x="7098468" y="775417"/>
                </a:cubicBezTo>
                <a:cubicBezTo>
                  <a:pt x="7091884" y="775417"/>
                  <a:pt x="7091884" y="775417"/>
                  <a:pt x="7091884" y="775417"/>
                </a:cubicBezTo>
                <a:close/>
                <a:moveTo>
                  <a:pt x="7022780" y="774694"/>
                </a:moveTo>
                <a:cubicBezTo>
                  <a:pt x="7018749" y="774694"/>
                  <a:pt x="7015904" y="777558"/>
                  <a:pt x="7015904" y="781368"/>
                </a:cubicBezTo>
                <a:cubicBezTo>
                  <a:pt x="7015904" y="784946"/>
                  <a:pt x="7018397" y="787921"/>
                  <a:pt x="7022538" y="787921"/>
                </a:cubicBezTo>
                <a:cubicBezTo>
                  <a:pt x="7026800" y="787801"/>
                  <a:pt x="7029414" y="784464"/>
                  <a:pt x="7029293" y="780895"/>
                </a:cubicBezTo>
                <a:cubicBezTo>
                  <a:pt x="7029052" y="777196"/>
                  <a:pt x="7026097" y="774694"/>
                  <a:pt x="7022780" y="774694"/>
                </a:cubicBezTo>
                <a:close/>
                <a:moveTo>
                  <a:pt x="7155441" y="765215"/>
                </a:moveTo>
                <a:lnTo>
                  <a:pt x="7155685" y="765395"/>
                </a:lnTo>
                <a:lnTo>
                  <a:pt x="7155441" y="765456"/>
                </a:lnTo>
                <a:cubicBezTo>
                  <a:pt x="7155441" y="765456"/>
                  <a:pt x="7155441" y="765456"/>
                  <a:pt x="7155441" y="765215"/>
                </a:cubicBezTo>
                <a:close/>
                <a:moveTo>
                  <a:pt x="7148164" y="756490"/>
                </a:moveTo>
                <a:cubicBezTo>
                  <a:pt x="7152094" y="756490"/>
                  <a:pt x="7152094" y="756490"/>
                  <a:pt x="7152094" y="756490"/>
                </a:cubicBezTo>
                <a:cubicBezTo>
                  <a:pt x="7154124" y="756490"/>
                  <a:pt x="7157461" y="756490"/>
                  <a:pt x="7157461" y="759716"/>
                </a:cubicBezTo>
                <a:cubicBezTo>
                  <a:pt x="7157461" y="762943"/>
                  <a:pt x="7154004" y="762943"/>
                  <a:pt x="7152456" y="762943"/>
                </a:cubicBezTo>
                <a:cubicBezTo>
                  <a:pt x="7148164" y="762943"/>
                  <a:pt x="7148164" y="762943"/>
                  <a:pt x="7148164" y="762943"/>
                </a:cubicBezTo>
                <a:close/>
                <a:moveTo>
                  <a:pt x="7144826" y="753494"/>
                </a:moveTo>
                <a:lnTo>
                  <a:pt x="7144826" y="775136"/>
                </a:lnTo>
                <a:cubicBezTo>
                  <a:pt x="7148405" y="775136"/>
                  <a:pt x="7148405" y="775136"/>
                  <a:pt x="7148405" y="775136"/>
                </a:cubicBezTo>
                <a:cubicBezTo>
                  <a:pt x="7148405" y="765928"/>
                  <a:pt x="7148405" y="765928"/>
                  <a:pt x="7148405" y="765928"/>
                </a:cubicBezTo>
                <a:cubicBezTo>
                  <a:pt x="7150435" y="765928"/>
                  <a:pt x="7150435" y="765928"/>
                  <a:pt x="7150435" y="765928"/>
                </a:cubicBezTo>
                <a:cubicBezTo>
                  <a:pt x="7153300" y="765928"/>
                  <a:pt x="7154365" y="767004"/>
                  <a:pt x="7156868" y="771668"/>
                </a:cubicBezTo>
                <a:cubicBezTo>
                  <a:pt x="7158778" y="775015"/>
                  <a:pt x="7158778" y="775015"/>
                  <a:pt x="7158778" y="775015"/>
                </a:cubicBezTo>
                <a:cubicBezTo>
                  <a:pt x="7162950" y="775015"/>
                  <a:pt x="7162950" y="775015"/>
                  <a:pt x="7162950" y="775015"/>
                </a:cubicBezTo>
                <a:cubicBezTo>
                  <a:pt x="7160326" y="770713"/>
                  <a:pt x="7160326" y="770713"/>
                  <a:pt x="7160326" y="770713"/>
                </a:cubicBezTo>
                <a:cubicBezTo>
                  <a:pt x="7159014" y="768622"/>
                  <a:pt x="7158090" y="767396"/>
                  <a:pt x="7157344" y="766618"/>
                </a:cubicBezTo>
                <a:lnTo>
                  <a:pt x="7155685" y="765395"/>
                </a:lnTo>
                <a:lnTo>
                  <a:pt x="7158253" y="764754"/>
                </a:lnTo>
                <a:cubicBezTo>
                  <a:pt x="7160584" y="763593"/>
                  <a:pt x="7161522" y="761239"/>
                  <a:pt x="7161522" y="759355"/>
                </a:cubicBezTo>
                <a:cubicBezTo>
                  <a:pt x="7161522" y="757565"/>
                  <a:pt x="7160688" y="756007"/>
                  <a:pt x="7159492" y="755173"/>
                </a:cubicBezTo>
                <a:cubicBezTo>
                  <a:pt x="7157703" y="753494"/>
                  <a:pt x="7154848" y="753494"/>
                  <a:pt x="7152456" y="753494"/>
                </a:cubicBezTo>
                <a:cubicBezTo>
                  <a:pt x="7144826" y="753494"/>
                  <a:pt x="7144826" y="753494"/>
                  <a:pt x="7144826" y="753494"/>
                </a:cubicBezTo>
                <a:close/>
                <a:moveTo>
                  <a:pt x="7153290" y="747524"/>
                </a:moveTo>
                <a:cubicBezTo>
                  <a:pt x="7162467" y="747524"/>
                  <a:pt x="7169976" y="754932"/>
                  <a:pt x="7169976" y="764139"/>
                </a:cubicBezTo>
                <a:cubicBezTo>
                  <a:pt x="7169976" y="773346"/>
                  <a:pt x="7162588" y="780996"/>
                  <a:pt x="7153290" y="780996"/>
                </a:cubicBezTo>
                <a:cubicBezTo>
                  <a:pt x="7144113" y="780996"/>
                  <a:pt x="7136725" y="773346"/>
                  <a:pt x="7136725" y="764139"/>
                </a:cubicBezTo>
                <a:cubicBezTo>
                  <a:pt x="7136604" y="754932"/>
                  <a:pt x="7143992" y="747524"/>
                  <a:pt x="7153290" y="747524"/>
                </a:cubicBezTo>
                <a:close/>
                <a:moveTo>
                  <a:pt x="7153290" y="744056"/>
                </a:moveTo>
                <a:cubicBezTo>
                  <a:pt x="7142324" y="744056"/>
                  <a:pt x="7133388" y="753022"/>
                  <a:pt x="7133388" y="764139"/>
                </a:cubicBezTo>
                <a:cubicBezTo>
                  <a:pt x="7133388" y="775377"/>
                  <a:pt x="7142324" y="784222"/>
                  <a:pt x="7153290" y="784222"/>
                </a:cubicBezTo>
                <a:cubicBezTo>
                  <a:pt x="7164377" y="784222"/>
                  <a:pt x="7173192" y="775136"/>
                  <a:pt x="7173192" y="764139"/>
                </a:cubicBezTo>
                <a:cubicBezTo>
                  <a:pt x="7173192" y="753143"/>
                  <a:pt x="7164256" y="744056"/>
                  <a:pt x="7153290" y="744056"/>
                </a:cubicBezTo>
                <a:close/>
                <a:moveTo>
                  <a:pt x="6954553" y="613780"/>
                </a:moveTo>
                <a:cubicBezTo>
                  <a:pt x="6955104" y="613734"/>
                  <a:pt x="6955760" y="614003"/>
                  <a:pt x="6956238" y="614541"/>
                </a:cubicBezTo>
                <a:cubicBezTo>
                  <a:pt x="6963525" y="622180"/>
                  <a:pt x="6961022" y="679856"/>
                  <a:pt x="6959464" y="691315"/>
                </a:cubicBezTo>
                <a:cubicBezTo>
                  <a:pt x="6959102" y="694180"/>
                  <a:pt x="6956479" y="696452"/>
                  <a:pt x="6955765" y="690602"/>
                </a:cubicBezTo>
                <a:cubicBezTo>
                  <a:pt x="6954931" y="683204"/>
                  <a:pt x="6950991" y="666126"/>
                  <a:pt x="6949795" y="659080"/>
                </a:cubicBezTo>
                <a:cubicBezTo>
                  <a:pt x="6948478" y="652395"/>
                  <a:pt x="6952187" y="631980"/>
                  <a:pt x="6953494" y="614903"/>
                </a:cubicBezTo>
                <a:cubicBezTo>
                  <a:pt x="6953554" y="614184"/>
                  <a:pt x="6954001" y="613825"/>
                  <a:pt x="6954553" y="613780"/>
                </a:cubicBezTo>
                <a:close/>
                <a:moveTo>
                  <a:pt x="6815987" y="568092"/>
                </a:moveTo>
                <a:cubicBezTo>
                  <a:pt x="6834392" y="570605"/>
                  <a:pt x="6853027" y="571078"/>
                  <a:pt x="6871301" y="570002"/>
                </a:cubicBezTo>
                <a:cubicBezTo>
                  <a:pt x="6874287" y="581340"/>
                  <a:pt x="6873925" y="596146"/>
                  <a:pt x="6869743" y="600328"/>
                </a:cubicBezTo>
                <a:cubicBezTo>
                  <a:pt x="6863049" y="607133"/>
                  <a:pt x="6832834" y="605816"/>
                  <a:pt x="6824229" y="604509"/>
                </a:cubicBezTo>
                <a:cubicBezTo>
                  <a:pt x="6821837" y="604148"/>
                  <a:pt x="6819455" y="603796"/>
                  <a:pt x="6818138" y="597584"/>
                </a:cubicBezTo>
                <a:cubicBezTo>
                  <a:pt x="6816701" y="590296"/>
                  <a:pt x="6816580" y="576928"/>
                  <a:pt x="6815987" y="568092"/>
                </a:cubicBezTo>
                <a:close/>
                <a:moveTo>
                  <a:pt x="6912513" y="565107"/>
                </a:moveTo>
                <a:cubicBezTo>
                  <a:pt x="6917649" y="574656"/>
                  <a:pt x="6918011" y="580154"/>
                  <a:pt x="6916574" y="584929"/>
                </a:cubicBezTo>
                <a:cubicBezTo>
                  <a:pt x="6915136" y="589703"/>
                  <a:pt x="6908452" y="592447"/>
                  <a:pt x="6907015" y="591854"/>
                </a:cubicBezTo>
                <a:cubicBezTo>
                  <a:pt x="6906774" y="581582"/>
                  <a:pt x="6904029" y="573822"/>
                  <a:pt x="6899245" y="566896"/>
                </a:cubicBezTo>
                <a:cubicBezTo>
                  <a:pt x="6903436" y="566183"/>
                  <a:pt x="6907859" y="565590"/>
                  <a:pt x="6912513" y="565107"/>
                </a:cubicBezTo>
                <a:close/>
                <a:moveTo>
                  <a:pt x="6770122" y="558191"/>
                </a:moveTo>
                <a:cubicBezTo>
                  <a:pt x="6775972" y="559981"/>
                  <a:pt x="6781952" y="561539"/>
                  <a:pt x="6787802" y="562966"/>
                </a:cubicBezTo>
                <a:cubicBezTo>
                  <a:pt x="6783742" y="588638"/>
                  <a:pt x="6775740" y="595915"/>
                  <a:pt x="6771559" y="597594"/>
                </a:cubicBezTo>
                <a:cubicBezTo>
                  <a:pt x="6768322" y="598901"/>
                  <a:pt x="6761276" y="599614"/>
                  <a:pt x="6763789" y="591503"/>
                </a:cubicBezTo>
                <a:cubicBezTo>
                  <a:pt x="6766302" y="583381"/>
                  <a:pt x="6768684" y="569530"/>
                  <a:pt x="6770122" y="558191"/>
                </a:cubicBezTo>
                <a:close/>
                <a:moveTo>
                  <a:pt x="6749660" y="551642"/>
                </a:moveTo>
                <a:cubicBezTo>
                  <a:pt x="6751677" y="551776"/>
                  <a:pt x="6754843" y="553000"/>
                  <a:pt x="6760934" y="555327"/>
                </a:cubicBezTo>
                <a:cubicBezTo>
                  <a:pt x="6760100" y="575028"/>
                  <a:pt x="6755084" y="586256"/>
                  <a:pt x="6753164" y="596277"/>
                </a:cubicBezTo>
                <a:cubicBezTo>
                  <a:pt x="6751013" y="606550"/>
                  <a:pt x="6762482" y="608932"/>
                  <a:pt x="6772634" y="606429"/>
                </a:cubicBezTo>
                <a:cubicBezTo>
                  <a:pt x="6782666" y="603926"/>
                  <a:pt x="6792225" y="593412"/>
                  <a:pt x="6796407" y="564876"/>
                </a:cubicBezTo>
                <a:cubicBezTo>
                  <a:pt x="6800347" y="565831"/>
                  <a:pt x="6803573" y="566313"/>
                  <a:pt x="6807634" y="566906"/>
                </a:cubicBezTo>
                <a:cubicBezTo>
                  <a:pt x="6808117" y="596518"/>
                  <a:pt x="6809906" y="603203"/>
                  <a:pt x="6811102" y="605826"/>
                </a:cubicBezTo>
                <a:cubicBezTo>
                  <a:pt x="6813374" y="611314"/>
                  <a:pt x="6818872" y="613114"/>
                  <a:pt x="6823285" y="613465"/>
                </a:cubicBezTo>
                <a:cubicBezTo>
                  <a:pt x="6846464" y="615255"/>
                  <a:pt x="6868919" y="614541"/>
                  <a:pt x="6876800" y="606781"/>
                </a:cubicBezTo>
                <a:cubicBezTo>
                  <a:pt x="6884801" y="598901"/>
                  <a:pt x="6882057" y="579682"/>
                  <a:pt x="6879785" y="569288"/>
                </a:cubicBezTo>
                <a:cubicBezTo>
                  <a:pt x="6883484" y="568927"/>
                  <a:pt x="6886479" y="568575"/>
                  <a:pt x="6890058" y="568092"/>
                </a:cubicBezTo>
                <a:cubicBezTo>
                  <a:pt x="6897707" y="576928"/>
                  <a:pt x="6898662" y="586597"/>
                  <a:pt x="6898662" y="592689"/>
                </a:cubicBezTo>
                <a:cubicBezTo>
                  <a:pt x="6898662" y="599494"/>
                  <a:pt x="6906191" y="603072"/>
                  <a:pt x="6916705" y="595795"/>
                </a:cubicBezTo>
                <a:cubicBezTo>
                  <a:pt x="6927098" y="588507"/>
                  <a:pt x="6926143" y="575732"/>
                  <a:pt x="6920404" y="564152"/>
                </a:cubicBezTo>
                <a:cubicBezTo>
                  <a:pt x="6944296" y="562242"/>
                  <a:pt x="6943100" y="577883"/>
                  <a:pt x="6941783" y="597232"/>
                </a:cubicBezTo>
                <a:cubicBezTo>
                  <a:pt x="6940587" y="616340"/>
                  <a:pt x="6936285" y="643439"/>
                  <a:pt x="6929842" y="646545"/>
                </a:cubicBezTo>
                <a:cubicBezTo>
                  <a:pt x="6923268" y="649289"/>
                  <a:pt x="6912996" y="631739"/>
                  <a:pt x="6859481" y="630905"/>
                </a:cubicBezTo>
                <a:cubicBezTo>
                  <a:pt x="6821495" y="630191"/>
                  <a:pt x="6792346" y="635328"/>
                  <a:pt x="6786968" y="670066"/>
                </a:cubicBezTo>
                <a:cubicBezTo>
                  <a:pt x="6786606" y="672569"/>
                  <a:pt x="6785179" y="672217"/>
                  <a:pt x="6783862" y="670900"/>
                </a:cubicBezTo>
                <a:cubicBezTo>
                  <a:pt x="6773469" y="659562"/>
                  <a:pt x="6763910" y="654426"/>
                  <a:pt x="6748621" y="645590"/>
                </a:cubicBezTo>
                <a:cubicBezTo>
                  <a:pt x="6733212" y="636514"/>
                  <a:pt x="6722939" y="624341"/>
                  <a:pt x="6721029" y="612279"/>
                </a:cubicBezTo>
                <a:cubicBezTo>
                  <a:pt x="6719120" y="600217"/>
                  <a:pt x="6723542" y="584105"/>
                  <a:pt x="6745284" y="554492"/>
                </a:cubicBezTo>
                <a:cubicBezTo>
                  <a:pt x="6746777" y="552462"/>
                  <a:pt x="6747644" y="551507"/>
                  <a:pt x="6749660" y="551642"/>
                </a:cubicBezTo>
                <a:close/>
                <a:moveTo>
                  <a:pt x="6692584" y="538094"/>
                </a:moveTo>
                <a:cubicBezTo>
                  <a:pt x="6687208" y="538049"/>
                  <a:pt x="6677642" y="540546"/>
                  <a:pt x="6681486" y="545989"/>
                </a:cubicBezTo>
                <a:cubicBezTo>
                  <a:pt x="6686613" y="553477"/>
                  <a:pt x="6696745" y="541114"/>
                  <a:pt x="6695910" y="538973"/>
                </a:cubicBezTo>
                <a:cubicBezTo>
                  <a:pt x="6695702" y="538407"/>
                  <a:pt x="6694376" y="538110"/>
                  <a:pt x="6692584" y="538094"/>
                </a:cubicBezTo>
                <a:close/>
                <a:moveTo>
                  <a:pt x="6689121" y="523091"/>
                </a:moveTo>
                <a:cubicBezTo>
                  <a:pt x="6693561" y="522168"/>
                  <a:pt x="6699428" y="525325"/>
                  <a:pt x="6712425" y="533113"/>
                </a:cubicBezTo>
                <a:cubicBezTo>
                  <a:pt x="6733453" y="545888"/>
                  <a:pt x="6739906" y="543265"/>
                  <a:pt x="6732730" y="554603"/>
                </a:cubicBezTo>
                <a:cubicBezTo>
                  <a:pt x="6728307" y="561891"/>
                  <a:pt x="6713370" y="581230"/>
                  <a:pt x="6709671" y="604992"/>
                </a:cubicBezTo>
                <a:cubicBezTo>
                  <a:pt x="6704655" y="598307"/>
                  <a:pt x="6697840" y="581712"/>
                  <a:pt x="6692111" y="577169"/>
                </a:cubicBezTo>
                <a:cubicBezTo>
                  <a:pt x="6680883" y="568334"/>
                  <a:pt x="6671203" y="575138"/>
                  <a:pt x="6667022" y="570002"/>
                </a:cubicBezTo>
                <a:cubicBezTo>
                  <a:pt x="6662358" y="564393"/>
                  <a:pt x="6660448" y="564031"/>
                  <a:pt x="6664630" y="558664"/>
                </a:cubicBezTo>
                <a:cubicBezTo>
                  <a:pt x="6664630" y="558664"/>
                  <a:pt x="6669645" y="552100"/>
                  <a:pt x="6671555" y="549346"/>
                </a:cubicBezTo>
                <a:cubicBezTo>
                  <a:pt x="6673706" y="546481"/>
                  <a:pt x="6673113" y="541104"/>
                  <a:pt x="6674068" y="538842"/>
                </a:cubicBezTo>
                <a:cubicBezTo>
                  <a:pt x="6674902" y="536570"/>
                  <a:pt x="6680039" y="529765"/>
                  <a:pt x="6684944" y="525353"/>
                </a:cubicBezTo>
                <a:cubicBezTo>
                  <a:pt x="6686319" y="524159"/>
                  <a:pt x="6687640" y="523398"/>
                  <a:pt x="6689121" y="523091"/>
                </a:cubicBezTo>
                <a:close/>
                <a:moveTo>
                  <a:pt x="6660772" y="466477"/>
                </a:moveTo>
                <a:cubicBezTo>
                  <a:pt x="6659757" y="466687"/>
                  <a:pt x="6659011" y="468717"/>
                  <a:pt x="6659011" y="473074"/>
                </a:cubicBezTo>
                <a:cubicBezTo>
                  <a:pt x="6659011" y="494926"/>
                  <a:pt x="6668570" y="508054"/>
                  <a:pt x="6671917" y="511763"/>
                </a:cubicBezTo>
                <a:cubicBezTo>
                  <a:pt x="6675144" y="515462"/>
                  <a:pt x="6676692" y="519161"/>
                  <a:pt x="6674902" y="521312"/>
                </a:cubicBezTo>
                <a:cubicBezTo>
                  <a:pt x="6670128" y="526921"/>
                  <a:pt x="6664991" y="533133"/>
                  <a:pt x="6664871" y="535636"/>
                </a:cubicBezTo>
                <a:cubicBezTo>
                  <a:pt x="6664630" y="538380"/>
                  <a:pt x="6664871" y="539697"/>
                  <a:pt x="6663795" y="542802"/>
                </a:cubicBezTo>
                <a:cubicBezTo>
                  <a:pt x="6662720" y="545788"/>
                  <a:pt x="6658900" y="550200"/>
                  <a:pt x="6652809" y="557608"/>
                </a:cubicBezTo>
                <a:cubicBezTo>
                  <a:pt x="6649462" y="561911"/>
                  <a:pt x="6651613" y="566564"/>
                  <a:pt x="6654478" y="569670"/>
                </a:cubicBezTo>
                <a:cubicBezTo>
                  <a:pt x="6657825" y="573490"/>
                  <a:pt x="6660096" y="577913"/>
                  <a:pt x="6664278" y="579822"/>
                </a:cubicBezTo>
                <a:cubicBezTo>
                  <a:pt x="6668580" y="581732"/>
                  <a:pt x="6672400" y="580416"/>
                  <a:pt x="6677415" y="581260"/>
                </a:cubicBezTo>
                <a:cubicBezTo>
                  <a:pt x="6682190" y="582094"/>
                  <a:pt x="6688171" y="584959"/>
                  <a:pt x="6692945" y="593443"/>
                </a:cubicBezTo>
                <a:cubicBezTo>
                  <a:pt x="6699871" y="605856"/>
                  <a:pt x="6707279" y="625206"/>
                  <a:pt x="6720657" y="641198"/>
                </a:cubicBezTo>
                <a:cubicBezTo>
                  <a:pt x="6726628" y="648244"/>
                  <a:pt x="6726628" y="661261"/>
                  <a:pt x="6726628" y="665432"/>
                </a:cubicBezTo>
                <a:cubicBezTo>
                  <a:pt x="6726990" y="702925"/>
                  <a:pt x="6707399" y="738387"/>
                  <a:pt x="6694855" y="760953"/>
                </a:cubicBezTo>
                <a:cubicBezTo>
                  <a:pt x="6691870" y="766210"/>
                  <a:pt x="6692583" y="770623"/>
                  <a:pt x="6696524" y="770623"/>
                </a:cubicBezTo>
                <a:cubicBezTo>
                  <a:pt x="6701067" y="770623"/>
                  <a:pt x="6718024" y="770623"/>
                  <a:pt x="6720899" y="770623"/>
                </a:cubicBezTo>
                <a:cubicBezTo>
                  <a:pt x="6724005" y="770623"/>
                  <a:pt x="6725914" y="767275"/>
                  <a:pt x="6726156" y="763697"/>
                </a:cubicBezTo>
                <a:cubicBezTo>
                  <a:pt x="6728307" y="733009"/>
                  <a:pt x="6745626" y="676770"/>
                  <a:pt x="6758653" y="667222"/>
                </a:cubicBezTo>
                <a:cubicBezTo>
                  <a:pt x="6780515" y="680952"/>
                  <a:pt x="6802257" y="710323"/>
                  <a:pt x="6791622" y="761787"/>
                </a:cubicBezTo>
                <a:cubicBezTo>
                  <a:pt x="6791139" y="764652"/>
                  <a:pt x="6788516" y="770864"/>
                  <a:pt x="6795090" y="770864"/>
                </a:cubicBezTo>
                <a:cubicBezTo>
                  <a:pt x="6795090" y="770864"/>
                  <a:pt x="6813605" y="770864"/>
                  <a:pt x="6815997" y="770864"/>
                </a:cubicBezTo>
                <a:cubicBezTo>
                  <a:pt x="6818741" y="770864"/>
                  <a:pt x="6823164" y="769788"/>
                  <a:pt x="6822802" y="764773"/>
                </a:cubicBezTo>
                <a:cubicBezTo>
                  <a:pt x="6821727" y="744710"/>
                  <a:pt x="6804880" y="702332"/>
                  <a:pt x="6800467" y="677374"/>
                </a:cubicBezTo>
                <a:cubicBezTo>
                  <a:pt x="6797723" y="661613"/>
                  <a:pt x="6810268" y="633438"/>
                  <a:pt x="6857571" y="655049"/>
                </a:cubicBezTo>
                <a:cubicBezTo>
                  <a:pt x="6875734" y="638695"/>
                  <a:pt x="6899627" y="648606"/>
                  <a:pt x="6889344" y="680007"/>
                </a:cubicBezTo>
                <a:cubicBezTo>
                  <a:pt x="6879312" y="711288"/>
                  <a:pt x="6870588" y="725018"/>
                  <a:pt x="6836181" y="761797"/>
                </a:cubicBezTo>
                <a:cubicBezTo>
                  <a:pt x="6832361" y="766099"/>
                  <a:pt x="6831999" y="770633"/>
                  <a:pt x="6838332" y="770633"/>
                </a:cubicBezTo>
                <a:cubicBezTo>
                  <a:pt x="6841438" y="770633"/>
                  <a:pt x="6857209" y="770633"/>
                  <a:pt x="6860435" y="770633"/>
                </a:cubicBezTo>
                <a:cubicBezTo>
                  <a:pt x="6865210" y="770633"/>
                  <a:pt x="6867130" y="769195"/>
                  <a:pt x="6868557" y="765496"/>
                </a:cubicBezTo>
                <a:cubicBezTo>
                  <a:pt x="6869874" y="761556"/>
                  <a:pt x="6885645" y="711650"/>
                  <a:pt x="6916584" y="688249"/>
                </a:cubicBezTo>
                <a:cubicBezTo>
                  <a:pt x="6918976" y="686460"/>
                  <a:pt x="6921007" y="678459"/>
                  <a:pt x="6925781" y="660195"/>
                </a:cubicBezTo>
                <a:cubicBezTo>
                  <a:pt x="6940718" y="679897"/>
                  <a:pt x="6942748" y="715710"/>
                  <a:pt x="6917056" y="761918"/>
                </a:cubicBezTo>
                <a:cubicBezTo>
                  <a:pt x="6914433" y="766813"/>
                  <a:pt x="6915981" y="770512"/>
                  <a:pt x="6919207" y="770512"/>
                </a:cubicBezTo>
                <a:cubicBezTo>
                  <a:pt x="6920997" y="770512"/>
                  <a:pt x="6934979" y="770512"/>
                  <a:pt x="6939160" y="770512"/>
                </a:cubicBezTo>
                <a:cubicBezTo>
                  <a:pt x="6942859" y="770512"/>
                  <a:pt x="6943934" y="768481"/>
                  <a:pt x="6945372" y="762873"/>
                </a:cubicBezTo>
                <a:cubicBezTo>
                  <a:pt x="6947161" y="755947"/>
                  <a:pt x="6947764" y="752600"/>
                  <a:pt x="6950146" y="746036"/>
                </a:cubicBezTo>
                <a:cubicBezTo>
                  <a:pt x="6951584" y="741975"/>
                  <a:pt x="6952177" y="741262"/>
                  <a:pt x="6968189" y="741382"/>
                </a:cubicBezTo>
                <a:cubicBezTo>
                  <a:pt x="6973205" y="741382"/>
                  <a:pt x="6972853" y="738759"/>
                  <a:pt x="6972853" y="734457"/>
                </a:cubicBezTo>
                <a:cubicBezTo>
                  <a:pt x="6973084" y="672569"/>
                  <a:pt x="6973446" y="607857"/>
                  <a:pt x="6968782" y="585653"/>
                </a:cubicBezTo>
                <a:cubicBezTo>
                  <a:pt x="6962329" y="554492"/>
                  <a:pt x="6935210" y="553537"/>
                  <a:pt x="6920997" y="554613"/>
                </a:cubicBezTo>
                <a:cubicBezTo>
                  <a:pt x="6906180" y="555689"/>
                  <a:pt x="6878227" y="560101"/>
                  <a:pt x="6849439" y="560101"/>
                </a:cubicBezTo>
                <a:cubicBezTo>
                  <a:pt x="6810610" y="560101"/>
                  <a:pt x="6766885" y="549115"/>
                  <a:pt x="6733443" y="533474"/>
                </a:cubicBezTo>
                <a:cubicBezTo>
                  <a:pt x="6727593" y="530851"/>
                  <a:pt x="6730578" y="529655"/>
                  <a:pt x="6733081" y="528218"/>
                </a:cubicBezTo>
                <a:cubicBezTo>
                  <a:pt x="6745626" y="521292"/>
                  <a:pt x="6756492" y="515080"/>
                  <a:pt x="6763186" y="504104"/>
                </a:cubicBezTo>
                <a:cubicBezTo>
                  <a:pt x="6768322" y="495751"/>
                  <a:pt x="6766413" y="493117"/>
                  <a:pt x="6760794" y="497661"/>
                </a:cubicBezTo>
                <a:cubicBezTo>
                  <a:pt x="6745626" y="510316"/>
                  <a:pt x="6723995" y="517362"/>
                  <a:pt x="6699871" y="508647"/>
                </a:cubicBezTo>
                <a:cubicBezTo>
                  <a:pt x="6675616" y="500053"/>
                  <a:pt x="6666298" y="476653"/>
                  <a:pt x="6664147" y="470803"/>
                </a:cubicBezTo>
                <a:cubicBezTo>
                  <a:pt x="6663072" y="467878"/>
                  <a:pt x="6661788" y="466267"/>
                  <a:pt x="6660772" y="466477"/>
                </a:cubicBezTo>
                <a:close/>
                <a:moveTo>
                  <a:pt x="6723623" y="411619"/>
                </a:moveTo>
                <a:cubicBezTo>
                  <a:pt x="6741655" y="411619"/>
                  <a:pt x="6756110" y="426294"/>
                  <a:pt x="6756110" y="444186"/>
                </a:cubicBezTo>
                <a:cubicBezTo>
                  <a:pt x="6756110" y="462198"/>
                  <a:pt x="6741655" y="476753"/>
                  <a:pt x="6723623" y="476753"/>
                </a:cubicBezTo>
                <a:cubicBezTo>
                  <a:pt x="6705590" y="476753"/>
                  <a:pt x="6690895" y="462198"/>
                  <a:pt x="6690895" y="444186"/>
                </a:cubicBezTo>
                <a:cubicBezTo>
                  <a:pt x="6690895" y="426063"/>
                  <a:pt x="6705590" y="411619"/>
                  <a:pt x="6723623" y="411619"/>
                </a:cubicBezTo>
                <a:close/>
                <a:moveTo>
                  <a:pt x="6722195" y="400049"/>
                </a:moveTo>
                <a:cubicBezTo>
                  <a:pt x="6694965" y="400049"/>
                  <a:pt x="6673103" y="422243"/>
                  <a:pt x="6673103" y="449322"/>
                </a:cubicBezTo>
                <a:cubicBezTo>
                  <a:pt x="6673103" y="476643"/>
                  <a:pt x="6695197" y="498595"/>
                  <a:pt x="6722195" y="498595"/>
                </a:cubicBezTo>
                <a:cubicBezTo>
                  <a:pt x="6749425" y="498595"/>
                  <a:pt x="6771288" y="476401"/>
                  <a:pt x="6771288" y="449322"/>
                </a:cubicBezTo>
                <a:cubicBezTo>
                  <a:pt x="6771288" y="422002"/>
                  <a:pt x="6749425" y="400049"/>
                  <a:pt x="6722195" y="400049"/>
                </a:cubicBezTo>
                <a:close/>
                <a:moveTo>
                  <a:pt x="0" y="0"/>
                </a:moveTo>
                <a:lnTo>
                  <a:pt x="7559674" y="0"/>
                </a:lnTo>
                <a:lnTo>
                  <a:pt x="7559674" y="241299"/>
                </a:lnTo>
                <a:lnTo>
                  <a:pt x="7559674" y="1676399"/>
                </a:lnTo>
                <a:lnTo>
                  <a:pt x="7559674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898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43F6319-27D6-4698-997C-9590F0039FE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-2239471" y="-764185"/>
            <a:ext cx="8381246" cy="3272690"/>
          </a:xfrm>
          <a:custGeom>
            <a:avLst/>
            <a:gdLst>
              <a:gd name="connsiteX0" fmla="*/ 4734847 w 9570643"/>
              <a:gd name="connsiteY0" fmla="*/ 966 h 9396435"/>
              <a:gd name="connsiteX1" fmla="*/ 7766048 w 9570643"/>
              <a:gd name="connsiteY1" fmla="*/ 1365446 h 9396435"/>
              <a:gd name="connsiteX2" fmla="*/ 8015175 w 9570643"/>
              <a:gd name="connsiteY2" fmla="*/ 7815071 h 9396435"/>
              <a:gd name="connsiteX3" fmla="*/ 1201745 w 9570643"/>
              <a:gd name="connsiteY3" fmla="*/ 8087924 h 9396435"/>
              <a:gd name="connsiteX4" fmla="*/ 1711863 w 9570643"/>
              <a:gd name="connsiteY4" fmla="*/ 1458375 h 9396435"/>
              <a:gd name="connsiteX5" fmla="*/ 4734847 w 9570643"/>
              <a:gd name="connsiteY5" fmla="*/ 966 h 9396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70643" h="9396435">
                <a:moveTo>
                  <a:pt x="4734847" y="966"/>
                </a:moveTo>
                <a:cubicBezTo>
                  <a:pt x="5808455" y="-25394"/>
                  <a:pt x="6811246" y="489423"/>
                  <a:pt x="7766048" y="1365446"/>
                </a:cubicBezTo>
                <a:cubicBezTo>
                  <a:pt x="9561345" y="3016408"/>
                  <a:pt x="10607284" y="5760760"/>
                  <a:pt x="8015175" y="7815071"/>
                </a:cubicBezTo>
                <a:cubicBezTo>
                  <a:pt x="5757213" y="9606413"/>
                  <a:pt x="2597649" y="10110599"/>
                  <a:pt x="1201745" y="8087924"/>
                </a:cubicBezTo>
                <a:cubicBezTo>
                  <a:pt x="-530282" y="5580836"/>
                  <a:pt x="-415604" y="3421734"/>
                  <a:pt x="1711863" y="1458375"/>
                </a:cubicBezTo>
                <a:cubicBezTo>
                  <a:pt x="2785112" y="468818"/>
                  <a:pt x="3787546" y="24226"/>
                  <a:pt x="4734847" y="966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F16E1EE-C349-430A-8730-9AD87214E3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-2211777" y="-703348"/>
            <a:ext cx="8325878" cy="3151037"/>
          </a:xfrm>
          <a:custGeom>
            <a:avLst/>
            <a:gdLst>
              <a:gd name="connsiteX0" fmla="*/ 5587825 w 9704957"/>
              <a:gd name="connsiteY0" fmla="*/ 122 h 9235126"/>
              <a:gd name="connsiteX1" fmla="*/ 9353111 w 9704957"/>
              <a:gd name="connsiteY1" fmla="*/ 2003625 h 9235126"/>
              <a:gd name="connsiteX2" fmla="*/ 6569894 w 9704957"/>
              <a:gd name="connsiteY2" fmla="*/ 7866745 h 9235126"/>
              <a:gd name="connsiteX3" fmla="*/ 246606 w 9704957"/>
              <a:gd name="connsiteY3" fmla="*/ 6805126 h 9235126"/>
              <a:gd name="connsiteX4" fmla="*/ 2470757 w 9704957"/>
              <a:gd name="connsiteY4" fmla="*/ 554496 h 9235126"/>
              <a:gd name="connsiteX5" fmla="*/ 5587825 w 9704957"/>
              <a:gd name="connsiteY5" fmla="*/ 122 h 923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704957" h="9235126">
                <a:moveTo>
                  <a:pt x="5587825" y="122"/>
                </a:moveTo>
                <a:cubicBezTo>
                  <a:pt x="7273646" y="9780"/>
                  <a:pt x="8750148" y="597132"/>
                  <a:pt x="9353111" y="2003625"/>
                </a:cubicBezTo>
                <a:cubicBezTo>
                  <a:pt x="10485370" y="4649596"/>
                  <a:pt x="8705241" y="5949373"/>
                  <a:pt x="6569894" y="7866745"/>
                </a:cubicBezTo>
                <a:cubicBezTo>
                  <a:pt x="3911813" y="10256394"/>
                  <a:pt x="599806" y="9269453"/>
                  <a:pt x="246606" y="6805126"/>
                </a:cubicBezTo>
                <a:cubicBezTo>
                  <a:pt x="-193380" y="3739351"/>
                  <a:pt x="-346771" y="1545474"/>
                  <a:pt x="2470757" y="554496"/>
                </a:cubicBezTo>
                <a:cubicBezTo>
                  <a:pt x="3489486" y="196503"/>
                  <a:pt x="4576333" y="-5673"/>
                  <a:pt x="5587825" y="122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F4BB131-97DE-416C-990A-F937626B42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-2190839" y="-917794"/>
            <a:ext cx="8162637" cy="3557130"/>
          </a:xfrm>
          <a:custGeom>
            <a:avLst/>
            <a:gdLst>
              <a:gd name="connsiteX0" fmla="*/ 4595596 w 9117362"/>
              <a:gd name="connsiteY0" fmla="*/ 502 h 9989968"/>
              <a:gd name="connsiteX1" fmla="*/ 8709830 w 9117362"/>
              <a:gd name="connsiteY1" fmla="*/ 3583340 h 9989968"/>
              <a:gd name="connsiteX2" fmla="*/ 5896492 w 9117362"/>
              <a:gd name="connsiteY2" fmla="*/ 9807996 h 9989968"/>
              <a:gd name="connsiteX3" fmla="*/ 172416 w 9117362"/>
              <a:gd name="connsiteY3" fmla="*/ 5446246 h 9989968"/>
              <a:gd name="connsiteX4" fmla="*/ 3521398 w 9117362"/>
              <a:gd name="connsiteY4" fmla="*/ 203882 h 9989968"/>
              <a:gd name="connsiteX5" fmla="*/ 4595596 w 9117362"/>
              <a:gd name="connsiteY5" fmla="*/ 502 h 998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17362" h="9989968">
                <a:moveTo>
                  <a:pt x="4595596" y="502"/>
                </a:moveTo>
                <a:cubicBezTo>
                  <a:pt x="6438821" y="-33237"/>
                  <a:pt x="7796754" y="1639154"/>
                  <a:pt x="8709830" y="3583340"/>
                </a:cubicBezTo>
                <a:cubicBezTo>
                  <a:pt x="9894713" y="6106433"/>
                  <a:pt x="8356150" y="9148933"/>
                  <a:pt x="5896492" y="9807996"/>
                </a:cubicBezTo>
                <a:cubicBezTo>
                  <a:pt x="2414469" y="10741001"/>
                  <a:pt x="830979" y="7904036"/>
                  <a:pt x="172416" y="5446246"/>
                </a:cubicBezTo>
                <a:cubicBezTo>
                  <a:pt x="-486647" y="2986590"/>
                  <a:pt x="767953" y="1172037"/>
                  <a:pt x="3521398" y="203882"/>
                </a:cubicBezTo>
                <a:cubicBezTo>
                  <a:pt x="3896277" y="71507"/>
                  <a:pt x="4254258" y="6749"/>
                  <a:pt x="4595596" y="502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3955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621238" y="256314"/>
            <a:ext cx="1921774" cy="508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Footer Placeholder 7">
            <a:extLst>
              <a:ext uri="{FF2B5EF4-FFF2-40B4-BE49-F238E27FC236}">
                <a16:creationId xmlns:a16="http://schemas.microsoft.com/office/drawing/2014/main" id="{B1951E4C-99A2-460C-92E0-A691AFE6EA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33" name="Slide Number Placeholder 8">
            <a:extLst>
              <a:ext uri="{FF2B5EF4-FFF2-40B4-BE49-F238E27FC236}">
                <a16:creationId xmlns:a16="http://schemas.microsoft.com/office/drawing/2014/main" id="{659EAE31-C488-4D95-A75F-16953525D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0434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8DB1A1C-F73E-451E-8083-6F4B41AA8846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3DC8914B-849B-4878-9961-6CD33AA46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0F24F8F7-BA87-41A1-AEC9-3E5E605CB3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3861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7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.xml"/><Relationship Id="rId47" Type="http://schemas.openxmlformats.org/officeDocument/2006/relationships/tags" Target="../tags/tag6.xml"/><Relationship Id="rId63" Type="http://schemas.openxmlformats.org/officeDocument/2006/relationships/tags" Target="../tags/tag22.xml"/><Relationship Id="rId68" Type="http://schemas.openxmlformats.org/officeDocument/2006/relationships/tags" Target="../tags/tag27.xml"/><Relationship Id="rId84" Type="http://schemas.openxmlformats.org/officeDocument/2006/relationships/tags" Target="../tags/tag43.xml"/><Relationship Id="rId89" Type="http://schemas.openxmlformats.org/officeDocument/2006/relationships/tags" Target="../tags/tag48.xml"/><Relationship Id="rId112" Type="http://schemas.openxmlformats.org/officeDocument/2006/relationships/tags" Target="../tags/tag71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6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tags" Target="../tags/tag12.xml"/><Relationship Id="rId58" Type="http://schemas.openxmlformats.org/officeDocument/2006/relationships/tags" Target="../tags/tag17.xml"/><Relationship Id="rId74" Type="http://schemas.openxmlformats.org/officeDocument/2006/relationships/tags" Target="../tags/tag33.xml"/><Relationship Id="rId79" Type="http://schemas.openxmlformats.org/officeDocument/2006/relationships/tags" Target="../tags/tag38.xml"/><Relationship Id="rId102" Type="http://schemas.openxmlformats.org/officeDocument/2006/relationships/tags" Target="../tags/tag61.xml"/><Relationship Id="rId123" Type="http://schemas.openxmlformats.org/officeDocument/2006/relationships/tags" Target="../tags/tag82.xml"/><Relationship Id="rId128" Type="http://schemas.openxmlformats.org/officeDocument/2006/relationships/tags" Target="../tags/tag87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49.xml"/><Relationship Id="rId95" Type="http://schemas.openxmlformats.org/officeDocument/2006/relationships/tags" Target="../tags/tag54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48" Type="http://schemas.openxmlformats.org/officeDocument/2006/relationships/tags" Target="../tags/tag7.xml"/><Relationship Id="rId56" Type="http://schemas.openxmlformats.org/officeDocument/2006/relationships/tags" Target="../tags/tag15.xml"/><Relationship Id="rId64" Type="http://schemas.openxmlformats.org/officeDocument/2006/relationships/tags" Target="../tags/tag23.xml"/><Relationship Id="rId69" Type="http://schemas.openxmlformats.org/officeDocument/2006/relationships/tags" Target="../tags/tag28.xml"/><Relationship Id="rId77" Type="http://schemas.openxmlformats.org/officeDocument/2006/relationships/tags" Target="../tags/tag36.xml"/><Relationship Id="rId100" Type="http://schemas.openxmlformats.org/officeDocument/2006/relationships/tags" Target="../tags/tag59.xml"/><Relationship Id="rId105" Type="http://schemas.openxmlformats.org/officeDocument/2006/relationships/tags" Target="../tags/tag64.xml"/><Relationship Id="rId113" Type="http://schemas.openxmlformats.org/officeDocument/2006/relationships/tags" Target="../tags/tag72.xml"/><Relationship Id="rId118" Type="http://schemas.openxmlformats.org/officeDocument/2006/relationships/tags" Target="../tags/tag77.xml"/><Relationship Id="rId126" Type="http://schemas.openxmlformats.org/officeDocument/2006/relationships/tags" Target="../tags/tag8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0.xml"/><Relationship Id="rId72" Type="http://schemas.openxmlformats.org/officeDocument/2006/relationships/tags" Target="../tags/tag31.xml"/><Relationship Id="rId80" Type="http://schemas.openxmlformats.org/officeDocument/2006/relationships/tags" Target="../tags/tag39.xml"/><Relationship Id="rId85" Type="http://schemas.openxmlformats.org/officeDocument/2006/relationships/tags" Target="../tags/tag44.xml"/><Relationship Id="rId93" Type="http://schemas.openxmlformats.org/officeDocument/2006/relationships/tags" Target="../tags/tag52.xml"/><Relationship Id="rId98" Type="http://schemas.openxmlformats.org/officeDocument/2006/relationships/tags" Target="../tags/tag57.xml"/><Relationship Id="rId121" Type="http://schemas.openxmlformats.org/officeDocument/2006/relationships/tags" Target="../tags/tag8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59" Type="http://schemas.openxmlformats.org/officeDocument/2006/relationships/tags" Target="../tags/tag18.xml"/><Relationship Id="rId67" Type="http://schemas.openxmlformats.org/officeDocument/2006/relationships/tags" Target="../tags/tag26.xml"/><Relationship Id="rId103" Type="http://schemas.openxmlformats.org/officeDocument/2006/relationships/tags" Target="../tags/tag62.xml"/><Relationship Id="rId108" Type="http://schemas.openxmlformats.org/officeDocument/2006/relationships/tags" Target="../tags/tag67.xml"/><Relationship Id="rId116" Type="http://schemas.openxmlformats.org/officeDocument/2006/relationships/tags" Target="../tags/tag75.xml"/><Relationship Id="rId124" Type="http://schemas.openxmlformats.org/officeDocument/2006/relationships/tags" Target="../tags/tag83.xml"/><Relationship Id="rId129" Type="http://schemas.openxmlformats.org/officeDocument/2006/relationships/tags" Target="../tags/tag8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Relationship Id="rId54" Type="http://schemas.openxmlformats.org/officeDocument/2006/relationships/tags" Target="../tags/tag13.xml"/><Relationship Id="rId62" Type="http://schemas.openxmlformats.org/officeDocument/2006/relationships/tags" Target="../tags/tag21.xml"/><Relationship Id="rId70" Type="http://schemas.openxmlformats.org/officeDocument/2006/relationships/tags" Target="../tags/tag29.xml"/><Relationship Id="rId75" Type="http://schemas.openxmlformats.org/officeDocument/2006/relationships/tags" Target="../tags/tag34.xml"/><Relationship Id="rId83" Type="http://schemas.openxmlformats.org/officeDocument/2006/relationships/tags" Target="../tags/tag42.xml"/><Relationship Id="rId88" Type="http://schemas.openxmlformats.org/officeDocument/2006/relationships/tags" Target="../tags/tag47.xml"/><Relationship Id="rId91" Type="http://schemas.openxmlformats.org/officeDocument/2006/relationships/tags" Target="../tags/tag50.xml"/><Relationship Id="rId96" Type="http://schemas.openxmlformats.org/officeDocument/2006/relationships/tags" Target="../tags/tag55.xml"/><Relationship Id="rId111" Type="http://schemas.openxmlformats.org/officeDocument/2006/relationships/tags" Target="../tags/tag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8.xml"/><Relationship Id="rId57" Type="http://schemas.openxmlformats.org/officeDocument/2006/relationships/tags" Target="../tags/tag16.xml"/><Relationship Id="rId106" Type="http://schemas.openxmlformats.org/officeDocument/2006/relationships/tags" Target="../tags/tag65.xml"/><Relationship Id="rId114" Type="http://schemas.openxmlformats.org/officeDocument/2006/relationships/tags" Target="../tags/tag73.xml"/><Relationship Id="rId119" Type="http://schemas.openxmlformats.org/officeDocument/2006/relationships/tags" Target="../tags/tag78.xml"/><Relationship Id="rId127" Type="http://schemas.openxmlformats.org/officeDocument/2006/relationships/tags" Target="../tags/tag8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52" Type="http://schemas.openxmlformats.org/officeDocument/2006/relationships/tags" Target="../tags/tag11.xml"/><Relationship Id="rId60" Type="http://schemas.openxmlformats.org/officeDocument/2006/relationships/tags" Target="../tags/tag19.xml"/><Relationship Id="rId65" Type="http://schemas.openxmlformats.org/officeDocument/2006/relationships/tags" Target="../tags/tag24.xml"/><Relationship Id="rId73" Type="http://schemas.openxmlformats.org/officeDocument/2006/relationships/tags" Target="../tags/tag32.xml"/><Relationship Id="rId78" Type="http://schemas.openxmlformats.org/officeDocument/2006/relationships/tags" Target="../tags/tag37.xml"/><Relationship Id="rId81" Type="http://schemas.openxmlformats.org/officeDocument/2006/relationships/tags" Target="../tags/tag40.xml"/><Relationship Id="rId86" Type="http://schemas.openxmlformats.org/officeDocument/2006/relationships/tags" Target="../tags/tag45.xml"/><Relationship Id="rId94" Type="http://schemas.openxmlformats.org/officeDocument/2006/relationships/tags" Target="../tags/tag53.xml"/><Relationship Id="rId99" Type="http://schemas.openxmlformats.org/officeDocument/2006/relationships/tags" Target="../tags/tag58.xml"/><Relationship Id="rId101" Type="http://schemas.openxmlformats.org/officeDocument/2006/relationships/tags" Target="../tags/tag60.xml"/><Relationship Id="rId122" Type="http://schemas.openxmlformats.org/officeDocument/2006/relationships/tags" Target="../tags/tag8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tags" Target="../tags/tag68.xml"/><Relationship Id="rId34" Type="http://schemas.openxmlformats.org/officeDocument/2006/relationships/slideLayout" Target="../slideLayouts/slideLayout34.xml"/><Relationship Id="rId50" Type="http://schemas.openxmlformats.org/officeDocument/2006/relationships/tags" Target="../tags/tag9.xml"/><Relationship Id="rId55" Type="http://schemas.openxmlformats.org/officeDocument/2006/relationships/tags" Target="../tags/tag14.xml"/><Relationship Id="rId76" Type="http://schemas.openxmlformats.org/officeDocument/2006/relationships/tags" Target="../tags/tag35.xml"/><Relationship Id="rId97" Type="http://schemas.openxmlformats.org/officeDocument/2006/relationships/tags" Target="../tags/tag56.xml"/><Relationship Id="rId104" Type="http://schemas.openxmlformats.org/officeDocument/2006/relationships/tags" Target="../tags/tag63.xml"/><Relationship Id="rId120" Type="http://schemas.openxmlformats.org/officeDocument/2006/relationships/tags" Target="../tags/tag79.xml"/><Relationship Id="rId125" Type="http://schemas.openxmlformats.org/officeDocument/2006/relationships/tags" Target="../tags/tag84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0.xml"/><Relationship Id="rId92" Type="http://schemas.openxmlformats.org/officeDocument/2006/relationships/tags" Target="../tags/tag5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66" Type="http://schemas.openxmlformats.org/officeDocument/2006/relationships/tags" Target="../tags/tag25.xml"/><Relationship Id="rId87" Type="http://schemas.openxmlformats.org/officeDocument/2006/relationships/tags" Target="../tags/tag46.xml"/><Relationship Id="rId110" Type="http://schemas.openxmlformats.org/officeDocument/2006/relationships/tags" Target="../tags/tag69.xml"/><Relationship Id="rId115" Type="http://schemas.openxmlformats.org/officeDocument/2006/relationships/tags" Target="../tags/tag74.xml"/><Relationship Id="rId61" Type="http://schemas.openxmlformats.org/officeDocument/2006/relationships/tags" Target="../tags/tag20.xml"/><Relationship Id="rId82" Type="http://schemas.openxmlformats.org/officeDocument/2006/relationships/tags" Target="../tags/tag4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6.xml"/><Relationship Id="rId117" Type="http://schemas.openxmlformats.org/officeDocument/2006/relationships/tags" Target="../tags/tag147.xml"/><Relationship Id="rId21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82.xml"/><Relationship Id="rId47" Type="http://schemas.openxmlformats.org/officeDocument/2006/relationships/slideLayout" Target="../slideLayouts/slideLayout87.xml"/><Relationship Id="rId63" Type="http://schemas.openxmlformats.org/officeDocument/2006/relationships/tags" Target="../tags/tag93.xml"/><Relationship Id="rId68" Type="http://schemas.openxmlformats.org/officeDocument/2006/relationships/tags" Target="../tags/tag98.xml"/><Relationship Id="rId84" Type="http://schemas.openxmlformats.org/officeDocument/2006/relationships/tags" Target="../tags/tag114.xml"/><Relationship Id="rId89" Type="http://schemas.openxmlformats.org/officeDocument/2006/relationships/tags" Target="../tags/tag119.xml"/><Relationship Id="rId112" Type="http://schemas.openxmlformats.org/officeDocument/2006/relationships/tags" Target="../tags/tag142.xml"/><Relationship Id="rId133" Type="http://schemas.openxmlformats.org/officeDocument/2006/relationships/tags" Target="../tags/tag163.xml"/><Relationship Id="rId138" Type="http://schemas.openxmlformats.org/officeDocument/2006/relationships/tags" Target="../tags/tag168.xml"/><Relationship Id="rId16" Type="http://schemas.openxmlformats.org/officeDocument/2006/relationships/slideLayout" Target="../slideLayouts/slideLayout56.xml"/><Relationship Id="rId107" Type="http://schemas.openxmlformats.org/officeDocument/2006/relationships/tags" Target="../tags/tag137.xml"/><Relationship Id="rId11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53" Type="http://schemas.openxmlformats.org/officeDocument/2006/relationships/slideLayout" Target="../slideLayouts/slideLayout93.xml"/><Relationship Id="rId58" Type="http://schemas.openxmlformats.org/officeDocument/2006/relationships/theme" Target="../theme/theme2.xml"/><Relationship Id="rId74" Type="http://schemas.openxmlformats.org/officeDocument/2006/relationships/tags" Target="../tags/tag104.xml"/><Relationship Id="rId79" Type="http://schemas.openxmlformats.org/officeDocument/2006/relationships/tags" Target="../tags/tag109.xml"/><Relationship Id="rId102" Type="http://schemas.openxmlformats.org/officeDocument/2006/relationships/tags" Target="../tags/tag132.xml"/><Relationship Id="rId123" Type="http://schemas.openxmlformats.org/officeDocument/2006/relationships/tags" Target="../tags/tag153.xml"/><Relationship Id="rId128" Type="http://schemas.openxmlformats.org/officeDocument/2006/relationships/tags" Target="../tags/tag158.xml"/><Relationship Id="rId144" Type="http://schemas.openxmlformats.org/officeDocument/2006/relationships/tags" Target="../tags/tag174.xml"/><Relationship Id="rId5" Type="http://schemas.openxmlformats.org/officeDocument/2006/relationships/slideLayout" Target="../slideLayouts/slideLayout45.xml"/><Relationship Id="rId90" Type="http://schemas.openxmlformats.org/officeDocument/2006/relationships/tags" Target="../tags/tag120.xml"/><Relationship Id="rId95" Type="http://schemas.openxmlformats.org/officeDocument/2006/relationships/tags" Target="../tags/tag125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43" Type="http://schemas.openxmlformats.org/officeDocument/2006/relationships/slideLayout" Target="../slideLayouts/slideLayout83.xml"/><Relationship Id="rId48" Type="http://schemas.openxmlformats.org/officeDocument/2006/relationships/slideLayout" Target="../slideLayouts/slideLayout88.xml"/><Relationship Id="rId64" Type="http://schemas.openxmlformats.org/officeDocument/2006/relationships/tags" Target="../tags/tag94.xml"/><Relationship Id="rId69" Type="http://schemas.openxmlformats.org/officeDocument/2006/relationships/tags" Target="../tags/tag99.xml"/><Relationship Id="rId113" Type="http://schemas.openxmlformats.org/officeDocument/2006/relationships/tags" Target="../tags/tag143.xml"/><Relationship Id="rId118" Type="http://schemas.openxmlformats.org/officeDocument/2006/relationships/tags" Target="../tags/tag148.xml"/><Relationship Id="rId134" Type="http://schemas.openxmlformats.org/officeDocument/2006/relationships/tags" Target="../tags/tag164.xml"/><Relationship Id="rId139" Type="http://schemas.openxmlformats.org/officeDocument/2006/relationships/tags" Target="../tags/tag169.xml"/><Relationship Id="rId80" Type="http://schemas.openxmlformats.org/officeDocument/2006/relationships/tags" Target="../tags/tag110.xml"/><Relationship Id="rId85" Type="http://schemas.openxmlformats.org/officeDocument/2006/relationships/tags" Target="../tags/tag115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59" Type="http://schemas.openxmlformats.org/officeDocument/2006/relationships/tags" Target="../tags/tag89.xml"/><Relationship Id="rId67" Type="http://schemas.openxmlformats.org/officeDocument/2006/relationships/tags" Target="../tags/tag97.xml"/><Relationship Id="rId103" Type="http://schemas.openxmlformats.org/officeDocument/2006/relationships/tags" Target="../tags/tag133.xml"/><Relationship Id="rId108" Type="http://schemas.openxmlformats.org/officeDocument/2006/relationships/tags" Target="../tags/tag138.xml"/><Relationship Id="rId116" Type="http://schemas.openxmlformats.org/officeDocument/2006/relationships/tags" Target="../tags/tag146.xml"/><Relationship Id="rId124" Type="http://schemas.openxmlformats.org/officeDocument/2006/relationships/tags" Target="../tags/tag154.xml"/><Relationship Id="rId129" Type="http://schemas.openxmlformats.org/officeDocument/2006/relationships/tags" Target="../tags/tag159.xml"/><Relationship Id="rId137" Type="http://schemas.openxmlformats.org/officeDocument/2006/relationships/tags" Target="../tags/tag167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54" Type="http://schemas.openxmlformats.org/officeDocument/2006/relationships/slideLayout" Target="../slideLayouts/slideLayout94.xml"/><Relationship Id="rId62" Type="http://schemas.openxmlformats.org/officeDocument/2006/relationships/tags" Target="../tags/tag92.xml"/><Relationship Id="rId70" Type="http://schemas.openxmlformats.org/officeDocument/2006/relationships/tags" Target="../tags/tag100.xml"/><Relationship Id="rId75" Type="http://schemas.openxmlformats.org/officeDocument/2006/relationships/tags" Target="../tags/tag105.xml"/><Relationship Id="rId83" Type="http://schemas.openxmlformats.org/officeDocument/2006/relationships/tags" Target="../tags/tag113.xml"/><Relationship Id="rId88" Type="http://schemas.openxmlformats.org/officeDocument/2006/relationships/tags" Target="../tags/tag118.xml"/><Relationship Id="rId91" Type="http://schemas.openxmlformats.org/officeDocument/2006/relationships/tags" Target="../tags/tag121.xml"/><Relationship Id="rId96" Type="http://schemas.openxmlformats.org/officeDocument/2006/relationships/tags" Target="../tags/tag126.xml"/><Relationship Id="rId111" Type="http://schemas.openxmlformats.org/officeDocument/2006/relationships/tags" Target="../tags/tag141.xml"/><Relationship Id="rId132" Type="http://schemas.openxmlformats.org/officeDocument/2006/relationships/tags" Target="../tags/tag162.xml"/><Relationship Id="rId140" Type="http://schemas.openxmlformats.org/officeDocument/2006/relationships/tags" Target="../tags/tag170.xml"/><Relationship Id="rId145" Type="http://schemas.openxmlformats.org/officeDocument/2006/relationships/tags" Target="../tags/tag17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slideLayout" Target="../slideLayouts/slideLayout89.xml"/><Relationship Id="rId57" Type="http://schemas.openxmlformats.org/officeDocument/2006/relationships/slideLayout" Target="../slideLayouts/slideLayout97.xml"/><Relationship Id="rId106" Type="http://schemas.openxmlformats.org/officeDocument/2006/relationships/tags" Target="../tags/tag136.xml"/><Relationship Id="rId114" Type="http://schemas.openxmlformats.org/officeDocument/2006/relationships/tags" Target="../tags/tag144.xml"/><Relationship Id="rId119" Type="http://schemas.openxmlformats.org/officeDocument/2006/relationships/tags" Target="../tags/tag149.xml"/><Relationship Id="rId127" Type="http://schemas.openxmlformats.org/officeDocument/2006/relationships/tags" Target="../tags/tag157.xml"/><Relationship Id="rId10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52" Type="http://schemas.openxmlformats.org/officeDocument/2006/relationships/slideLayout" Target="../slideLayouts/slideLayout92.xml"/><Relationship Id="rId60" Type="http://schemas.openxmlformats.org/officeDocument/2006/relationships/tags" Target="../tags/tag90.xml"/><Relationship Id="rId65" Type="http://schemas.openxmlformats.org/officeDocument/2006/relationships/tags" Target="../tags/tag95.xml"/><Relationship Id="rId73" Type="http://schemas.openxmlformats.org/officeDocument/2006/relationships/tags" Target="../tags/tag103.xml"/><Relationship Id="rId78" Type="http://schemas.openxmlformats.org/officeDocument/2006/relationships/tags" Target="../tags/tag108.xml"/><Relationship Id="rId81" Type="http://schemas.openxmlformats.org/officeDocument/2006/relationships/tags" Target="../tags/tag111.xml"/><Relationship Id="rId86" Type="http://schemas.openxmlformats.org/officeDocument/2006/relationships/tags" Target="../tags/tag116.xml"/><Relationship Id="rId94" Type="http://schemas.openxmlformats.org/officeDocument/2006/relationships/tags" Target="../tags/tag124.xml"/><Relationship Id="rId99" Type="http://schemas.openxmlformats.org/officeDocument/2006/relationships/tags" Target="../tags/tag129.xml"/><Relationship Id="rId101" Type="http://schemas.openxmlformats.org/officeDocument/2006/relationships/tags" Target="../tags/tag131.xml"/><Relationship Id="rId122" Type="http://schemas.openxmlformats.org/officeDocument/2006/relationships/tags" Target="../tags/tag152.xml"/><Relationship Id="rId130" Type="http://schemas.openxmlformats.org/officeDocument/2006/relationships/tags" Target="../tags/tag160.xml"/><Relationship Id="rId135" Type="http://schemas.openxmlformats.org/officeDocument/2006/relationships/tags" Target="../tags/tag165.xml"/><Relationship Id="rId143" Type="http://schemas.openxmlformats.org/officeDocument/2006/relationships/tags" Target="../tags/tag173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9.xml"/><Relationship Id="rId109" Type="http://schemas.openxmlformats.org/officeDocument/2006/relationships/tags" Target="../tags/tag139.xml"/><Relationship Id="rId34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90.xml"/><Relationship Id="rId55" Type="http://schemas.openxmlformats.org/officeDocument/2006/relationships/slideLayout" Target="../slideLayouts/slideLayout95.xml"/><Relationship Id="rId76" Type="http://schemas.openxmlformats.org/officeDocument/2006/relationships/tags" Target="../tags/tag106.xml"/><Relationship Id="rId97" Type="http://schemas.openxmlformats.org/officeDocument/2006/relationships/tags" Target="../tags/tag127.xml"/><Relationship Id="rId104" Type="http://schemas.openxmlformats.org/officeDocument/2006/relationships/tags" Target="../tags/tag134.xml"/><Relationship Id="rId120" Type="http://schemas.openxmlformats.org/officeDocument/2006/relationships/tags" Target="../tags/tag150.xml"/><Relationship Id="rId125" Type="http://schemas.openxmlformats.org/officeDocument/2006/relationships/tags" Target="../tags/tag155.xml"/><Relationship Id="rId141" Type="http://schemas.openxmlformats.org/officeDocument/2006/relationships/tags" Target="../tags/tag171.xml"/><Relationship Id="rId146" Type="http://schemas.openxmlformats.org/officeDocument/2006/relationships/tags" Target="../tags/tag176.xml"/><Relationship Id="rId7" Type="http://schemas.openxmlformats.org/officeDocument/2006/relationships/slideLayout" Target="../slideLayouts/slideLayout47.xml"/><Relationship Id="rId71" Type="http://schemas.openxmlformats.org/officeDocument/2006/relationships/tags" Target="../tags/tag101.xml"/><Relationship Id="rId92" Type="http://schemas.openxmlformats.org/officeDocument/2006/relationships/tags" Target="../tags/tag122.xml"/><Relationship Id="rId2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66" Type="http://schemas.openxmlformats.org/officeDocument/2006/relationships/tags" Target="../tags/tag96.xml"/><Relationship Id="rId87" Type="http://schemas.openxmlformats.org/officeDocument/2006/relationships/tags" Target="../tags/tag117.xml"/><Relationship Id="rId110" Type="http://schemas.openxmlformats.org/officeDocument/2006/relationships/tags" Target="../tags/tag140.xml"/><Relationship Id="rId115" Type="http://schemas.openxmlformats.org/officeDocument/2006/relationships/tags" Target="../tags/tag145.xml"/><Relationship Id="rId131" Type="http://schemas.openxmlformats.org/officeDocument/2006/relationships/tags" Target="../tags/tag161.xml"/><Relationship Id="rId136" Type="http://schemas.openxmlformats.org/officeDocument/2006/relationships/tags" Target="../tags/tag166.xml"/><Relationship Id="rId61" Type="http://schemas.openxmlformats.org/officeDocument/2006/relationships/tags" Target="../tags/tag91.xml"/><Relationship Id="rId82" Type="http://schemas.openxmlformats.org/officeDocument/2006/relationships/tags" Target="../tags/tag112.xml"/><Relationship Id="rId1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56" Type="http://schemas.openxmlformats.org/officeDocument/2006/relationships/slideLayout" Target="../slideLayouts/slideLayout96.xml"/><Relationship Id="rId77" Type="http://schemas.openxmlformats.org/officeDocument/2006/relationships/tags" Target="../tags/tag107.xml"/><Relationship Id="rId100" Type="http://schemas.openxmlformats.org/officeDocument/2006/relationships/tags" Target="../tags/tag130.xml"/><Relationship Id="rId105" Type="http://schemas.openxmlformats.org/officeDocument/2006/relationships/tags" Target="../tags/tag135.xml"/><Relationship Id="rId126" Type="http://schemas.openxmlformats.org/officeDocument/2006/relationships/tags" Target="../tags/tag156.xml"/><Relationship Id="rId8" Type="http://schemas.openxmlformats.org/officeDocument/2006/relationships/slideLayout" Target="../slideLayouts/slideLayout48.xml"/><Relationship Id="rId51" Type="http://schemas.openxmlformats.org/officeDocument/2006/relationships/slideLayout" Target="../slideLayouts/slideLayout91.xml"/><Relationship Id="rId72" Type="http://schemas.openxmlformats.org/officeDocument/2006/relationships/tags" Target="../tags/tag102.xml"/><Relationship Id="rId93" Type="http://schemas.openxmlformats.org/officeDocument/2006/relationships/tags" Target="../tags/tag123.xml"/><Relationship Id="rId98" Type="http://schemas.openxmlformats.org/officeDocument/2006/relationships/tags" Target="../tags/tag128.xml"/><Relationship Id="rId121" Type="http://schemas.openxmlformats.org/officeDocument/2006/relationships/tags" Target="../tags/tag151.xml"/><Relationship Id="rId142" Type="http://schemas.openxmlformats.org/officeDocument/2006/relationships/tags" Target="../tags/tag17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117" Type="http://schemas.openxmlformats.org/officeDocument/2006/relationships/tags" Target="../tags/tag237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tags" Target="../tags/tag183.xml"/><Relationship Id="rId68" Type="http://schemas.openxmlformats.org/officeDocument/2006/relationships/tags" Target="../tags/tag188.xml"/><Relationship Id="rId84" Type="http://schemas.openxmlformats.org/officeDocument/2006/relationships/tags" Target="../tags/tag204.xml"/><Relationship Id="rId89" Type="http://schemas.openxmlformats.org/officeDocument/2006/relationships/tags" Target="../tags/tag209.xml"/><Relationship Id="rId112" Type="http://schemas.openxmlformats.org/officeDocument/2006/relationships/tags" Target="../tags/tag232.xml"/><Relationship Id="rId133" Type="http://schemas.openxmlformats.org/officeDocument/2006/relationships/tags" Target="../tags/tag253.xml"/><Relationship Id="rId138" Type="http://schemas.openxmlformats.org/officeDocument/2006/relationships/tags" Target="../tags/tag258.xml"/><Relationship Id="rId16" Type="http://schemas.openxmlformats.org/officeDocument/2006/relationships/slideLayout" Target="../slideLayouts/slideLayout113.xml"/><Relationship Id="rId107" Type="http://schemas.openxmlformats.org/officeDocument/2006/relationships/tags" Target="../tags/tag227.xml"/><Relationship Id="rId11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50.xml"/><Relationship Id="rId58" Type="http://schemas.openxmlformats.org/officeDocument/2006/relationships/tags" Target="../tags/tag178.xml"/><Relationship Id="rId74" Type="http://schemas.openxmlformats.org/officeDocument/2006/relationships/tags" Target="../tags/tag194.xml"/><Relationship Id="rId79" Type="http://schemas.openxmlformats.org/officeDocument/2006/relationships/tags" Target="../tags/tag199.xml"/><Relationship Id="rId102" Type="http://schemas.openxmlformats.org/officeDocument/2006/relationships/tags" Target="../tags/tag222.xml"/><Relationship Id="rId123" Type="http://schemas.openxmlformats.org/officeDocument/2006/relationships/tags" Target="../tags/tag243.xml"/><Relationship Id="rId128" Type="http://schemas.openxmlformats.org/officeDocument/2006/relationships/tags" Target="../tags/tag248.xml"/><Relationship Id="rId144" Type="http://schemas.openxmlformats.org/officeDocument/2006/relationships/tags" Target="../tags/tag264.xml"/><Relationship Id="rId5" Type="http://schemas.openxmlformats.org/officeDocument/2006/relationships/slideLayout" Target="../slideLayouts/slideLayout102.xml"/><Relationship Id="rId90" Type="http://schemas.openxmlformats.org/officeDocument/2006/relationships/tags" Target="../tags/tag210.xml"/><Relationship Id="rId95" Type="http://schemas.openxmlformats.org/officeDocument/2006/relationships/tags" Target="../tags/tag215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64" Type="http://schemas.openxmlformats.org/officeDocument/2006/relationships/tags" Target="../tags/tag184.xml"/><Relationship Id="rId69" Type="http://schemas.openxmlformats.org/officeDocument/2006/relationships/tags" Target="../tags/tag189.xml"/><Relationship Id="rId113" Type="http://schemas.openxmlformats.org/officeDocument/2006/relationships/tags" Target="../tags/tag233.xml"/><Relationship Id="rId118" Type="http://schemas.openxmlformats.org/officeDocument/2006/relationships/tags" Target="../tags/tag238.xml"/><Relationship Id="rId134" Type="http://schemas.openxmlformats.org/officeDocument/2006/relationships/tags" Target="../tags/tag254.xml"/><Relationship Id="rId139" Type="http://schemas.openxmlformats.org/officeDocument/2006/relationships/tags" Target="../tags/tag259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tags" Target="../tags/tag192.xml"/><Relationship Id="rId80" Type="http://schemas.openxmlformats.org/officeDocument/2006/relationships/tags" Target="../tags/tag200.xml"/><Relationship Id="rId85" Type="http://schemas.openxmlformats.org/officeDocument/2006/relationships/tags" Target="../tags/tag205.xml"/><Relationship Id="rId93" Type="http://schemas.openxmlformats.org/officeDocument/2006/relationships/tags" Target="../tags/tag213.xml"/><Relationship Id="rId98" Type="http://schemas.openxmlformats.org/officeDocument/2006/relationships/tags" Target="../tags/tag218.xml"/><Relationship Id="rId121" Type="http://schemas.openxmlformats.org/officeDocument/2006/relationships/tags" Target="../tags/tag241.xml"/><Relationship Id="rId142" Type="http://schemas.openxmlformats.org/officeDocument/2006/relationships/tags" Target="../tags/tag262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tags" Target="../tags/tag179.xml"/><Relationship Id="rId67" Type="http://schemas.openxmlformats.org/officeDocument/2006/relationships/tags" Target="../tags/tag187.xml"/><Relationship Id="rId103" Type="http://schemas.openxmlformats.org/officeDocument/2006/relationships/tags" Target="../tags/tag223.xml"/><Relationship Id="rId108" Type="http://schemas.openxmlformats.org/officeDocument/2006/relationships/tags" Target="../tags/tag228.xml"/><Relationship Id="rId116" Type="http://schemas.openxmlformats.org/officeDocument/2006/relationships/tags" Target="../tags/tag236.xml"/><Relationship Id="rId124" Type="http://schemas.openxmlformats.org/officeDocument/2006/relationships/tags" Target="../tags/tag244.xml"/><Relationship Id="rId129" Type="http://schemas.openxmlformats.org/officeDocument/2006/relationships/tags" Target="../tags/tag249.xml"/><Relationship Id="rId137" Type="http://schemas.openxmlformats.org/officeDocument/2006/relationships/tags" Target="../tags/tag257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tags" Target="../tags/tag182.xml"/><Relationship Id="rId70" Type="http://schemas.openxmlformats.org/officeDocument/2006/relationships/tags" Target="../tags/tag190.xml"/><Relationship Id="rId75" Type="http://schemas.openxmlformats.org/officeDocument/2006/relationships/tags" Target="../tags/tag195.xml"/><Relationship Id="rId83" Type="http://schemas.openxmlformats.org/officeDocument/2006/relationships/tags" Target="../tags/tag203.xml"/><Relationship Id="rId88" Type="http://schemas.openxmlformats.org/officeDocument/2006/relationships/tags" Target="../tags/tag208.xml"/><Relationship Id="rId91" Type="http://schemas.openxmlformats.org/officeDocument/2006/relationships/tags" Target="../tags/tag211.xml"/><Relationship Id="rId96" Type="http://schemas.openxmlformats.org/officeDocument/2006/relationships/tags" Target="../tags/tag216.xml"/><Relationship Id="rId111" Type="http://schemas.openxmlformats.org/officeDocument/2006/relationships/tags" Target="../tags/tag231.xml"/><Relationship Id="rId132" Type="http://schemas.openxmlformats.org/officeDocument/2006/relationships/tags" Target="../tags/tag252.xml"/><Relationship Id="rId140" Type="http://schemas.openxmlformats.org/officeDocument/2006/relationships/tags" Target="../tags/tag260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tags" Target="../tags/tag177.xml"/><Relationship Id="rId106" Type="http://schemas.openxmlformats.org/officeDocument/2006/relationships/tags" Target="../tags/tag226.xml"/><Relationship Id="rId114" Type="http://schemas.openxmlformats.org/officeDocument/2006/relationships/tags" Target="../tags/tag234.xml"/><Relationship Id="rId119" Type="http://schemas.openxmlformats.org/officeDocument/2006/relationships/tags" Target="../tags/tag239.xml"/><Relationship Id="rId127" Type="http://schemas.openxmlformats.org/officeDocument/2006/relationships/tags" Target="../tags/tag247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tags" Target="../tags/tag180.xml"/><Relationship Id="rId65" Type="http://schemas.openxmlformats.org/officeDocument/2006/relationships/tags" Target="../tags/tag185.xml"/><Relationship Id="rId73" Type="http://schemas.openxmlformats.org/officeDocument/2006/relationships/tags" Target="../tags/tag193.xml"/><Relationship Id="rId78" Type="http://schemas.openxmlformats.org/officeDocument/2006/relationships/tags" Target="../tags/tag198.xml"/><Relationship Id="rId81" Type="http://schemas.openxmlformats.org/officeDocument/2006/relationships/tags" Target="../tags/tag201.xml"/><Relationship Id="rId86" Type="http://schemas.openxmlformats.org/officeDocument/2006/relationships/tags" Target="../tags/tag206.xml"/><Relationship Id="rId94" Type="http://schemas.openxmlformats.org/officeDocument/2006/relationships/tags" Target="../tags/tag214.xml"/><Relationship Id="rId99" Type="http://schemas.openxmlformats.org/officeDocument/2006/relationships/tags" Target="../tags/tag219.xml"/><Relationship Id="rId101" Type="http://schemas.openxmlformats.org/officeDocument/2006/relationships/tags" Target="../tags/tag221.xml"/><Relationship Id="rId122" Type="http://schemas.openxmlformats.org/officeDocument/2006/relationships/tags" Target="../tags/tag242.xml"/><Relationship Id="rId130" Type="http://schemas.openxmlformats.org/officeDocument/2006/relationships/tags" Target="../tags/tag250.xml"/><Relationship Id="rId135" Type="http://schemas.openxmlformats.org/officeDocument/2006/relationships/tags" Target="../tags/tag255.xml"/><Relationship Id="rId143" Type="http://schemas.openxmlformats.org/officeDocument/2006/relationships/tags" Target="../tags/tag263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109" Type="http://schemas.openxmlformats.org/officeDocument/2006/relationships/tags" Target="../tags/tag229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76" Type="http://schemas.openxmlformats.org/officeDocument/2006/relationships/tags" Target="../tags/tag196.xml"/><Relationship Id="rId97" Type="http://schemas.openxmlformats.org/officeDocument/2006/relationships/tags" Target="../tags/tag217.xml"/><Relationship Id="rId104" Type="http://schemas.openxmlformats.org/officeDocument/2006/relationships/tags" Target="../tags/tag224.xml"/><Relationship Id="rId120" Type="http://schemas.openxmlformats.org/officeDocument/2006/relationships/tags" Target="../tags/tag240.xml"/><Relationship Id="rId125" Type="http://schemas.openxmlformats.org/officeDocument/2006/relationships/tags" Target="../tags/tag245.xml"/><Relationship Id="rId141" Type="http://schemas.openxmlformats.org/officeDocument/2006/relationships/tags" Target="../tags/tag261.xml"/><Relationship Id="rId7" Type="http://schemas.openxmlformats.org/officeDocument/2006/relationships/slideLayout" Target="../slideLayouts/slideLayout104.xml"/><Relationship Id="rId71" Type="http://schemas.openxmlformats.org/officeDocument/2006/relationships/tags" Target="../tags/tag191.xml"/><Relationship Id="rId92" Type="http://schemas.openxmlformats.org/officeDocument/2006/relationships/tags" Target="../tags/tag212.xml"/><Relationship Id="rId2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66" Type="http://schemas.openxmlformats.org/officeDocument/2006/relationships/tags" Target="../tags/tag186.xml"/><Relationship Id="rId87" Type="http://schemas.openxmlformats.org/officeDocument/2006/relationships/tags" Target="../tags/tag207.xml"/><Relationship Id="rId110" Type="http://schemas.openxmlformats.org/officeDocument/2006/relationships/tags" Target="../tags/tag230.xml"/><Relationship Id="rId115" Type="http://schemas.openxmlformats.org/officeDocument/2006/relationships/tags" Target="../tags/tag235.xml"/><Relationship Id="rId131" Type="http://schemas.openxmlformats.org/officeDocument/2006/relationships/tags" Target="../tags/tag251.xml"/><Relationship Id="rId136" Type="http://schemas.openxmlformats.org/officeDocument/2006/relationships/tags" Target="../tags/tag256.xml"/><Relationship Id="rId61" Type="http://schemas.openxmlformats.org/officeDocument/2006/relationships/tags" Target="../tags/tag181.xml"/><Relationship Id="rId82" Type="http://schemas.openxmlformats.org/officeDocument/2006/relationships/tags" Target="../tags/tag202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56" Type="http://schemas.openxmlformats.org/officeDocument/2006/relationships/theme" Target="../theme/theme3.xml"/><Relationship Id="rId77" Type="http://schemas.openxmlformats.org/officeDocument/2006/relationships/tags" Target="../tags/tag197.xml"/><Relationship Id="rId100" Type="http://schemas.openxmlformats.org/officeDocument/2006/relationships/tags" Target="../tags/tag220.xml"/><Relationship Id="rId105" Type="http://schemas.openxmlformats.org/officeDocument/2006/relationships/tags" Target="../tags/tag225.xml"/><Relationship Id="rId126" Type="http://schemas.openxmlformats.org/officeDocument/2006/relationships/tags" Target="../tags/tag2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image" Target="../media/image14.png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image" Target="../media/image13.png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07.xml"/><Relationship Id="rId117" Type="http://schemas.openxmlformats.org/officeDocument/2006/relationships/tags" Target="../tags/tag351.xml"/><Relationship Id="rId21" Type="http://schemas.openxmlformats.org/officeDocument/2006/relationships/slideLayout" Target="../slideLayouts/slideLayout202.xml"/><Relationship Id="rId42" Type="http://schemas.openxmlformats.org/officeDocument/2006/relationships/tags" Target="../tags/tag276.xml"/><Relationship Id="rId47" Type="http://schemas.openxmlformats.org/officeDocument/2006/relationships/tags" Target="../tags/tag281.xml"/><Relationship Id="rId63" Type="http://schemas.openxmlformats.org/officeDocument/2006/relationships/tags" Target="../tags/tag297.xml"/><Relationship Id="rId68" Type="http://schemas.openxmlformats.org/officeDocument/2006/relationships/tags" Target="../tags/tag302.xml"/><Relationship Id="rId84" Type="http://schemas.openxmlformats.org/officeDocument/2006/relationships/tags" Target="../tags/tag318.xml"/><Relationship Id="rId89" Type="http://schemas.openxmlformats.org/officeDocument/2006/relationships/tags" Target="../tags/tag323.xml"/><Relationship Id="rId112" Type="http://schemas.openxmlformats.org/officeDocument/2006/relationships/tags" Target="../tags/tag346.xml"/><Relationship Id="rId16" Type="http://schemas.openxmlformats.org/officeDocument/2006/relationships/slideLayout" Target="../slideLayouts/slideLayout197.xml"/><Relationship Id="rId107" Type="http://schemas.openxmlformats.org/officeDocument/2006/relationships/tags" Target="../tags/tag341.xml"/><Relationship Id="rId11" Type="http://schemas.openxmlformats.org/officeDocument/2006/relationships/slideLayout" Target="../slideLayouts/slideLayout192.xml"/><Relationship Id="rId24" Type="http://schemas.openxmlformats.org/officeDocument/2006/relationships/slideLayout" Target="../slideLayouts/slideLayout205.xml"/><Relationship Id="rId32" Type="http://schemas.openxmlformats.org/officeDocument/2006/relationships/tags" Target="../tags/tag266.xml"/><Relationship Id="rId37" Type="http://schemas.openxmlformats.org/officeDocument/2006/relationships/tags" Target="../tags/tag271.xml"/><Relationship Id="rId40" Type="http://schemas.openxmlformats.org/officeDocument/2006/relationships/tags" Target="../tags/tag274.xml"/><Relationship Id="rId45" Type="http://schemas.openxmlformats.org/officeDocument/2006/relationships/tags" Target="../tags/tag279.xml"/><Relationship Id="rId53" Type="http://schemas.openxmlformats.org/officeDocument/2006/relationships/tags" Target="../tags/tag287.xml"/><Relationship Id="rId58" Type="http://schemas.openxmlformats.org/officeDocument/2006/relationships/tags" Target="../tags/tag292.xml"/><Relationship Id="rId66" Type="http://schemas.openxmlformats.org/officeDocument/2006/relationships/tags" Target="../tags/tag300.xml"/><Relationship Id="rId74" Type="http://schemas.openxmlformats.org/officeDocument/2006/relationships/tags" Target="../tags/tag308.xml"/><Relationship Id="rId79" Type="http://schemas.openxmlformats.org/officeDocument/2006/relationships/tags" Target="../tags/tag313.xml"/><Relationship Id="rId87" Type="http://schemas.openxmlformats.org/officeDocument/2006/relationships/tags" Target="../tags/tag321.xml"/><Relationship Id="rId102" Type="http://schemas.openxmlformats.org/officeDocument/2006/relationships/tags" Target="../tags/tag336.xml"/><Relationship Id="rId110" Type="http://schemas.openxmlformats.org/officeDocument/2006/relationships/tags" Target="../tags/tag344.xml"/><Relationship Id="rId115" Type="http://schemas.openxmlformats.org/officeDocument/2006/relationships/tags" Target="../tags/tag349.xml"/><Relationship Id="rId5" Type="http://schemas.openxmlformats.org/officeDocument/2006/relationships/slideLayout" Target="../slideLayouts/slideLayout186.xml"/><Relationship Id="rId61" Type="http://schemas.openxmlformats.org/officeDocument/2006/relationships/tags" Target="../tags/tag295.xml"/><Relationship Id="rId82" Type="http://schemas.openxmlformats.org/officeDocument/2006/relationships/tags" Target="../tags/tag316.xml"/><Relationship Id="rId90" Type="http://schemas.openxmlformats.org/officeDocument/2006/relationships/tags" Target="../tags/tag324.xml"/><Relationship Id="rId95" Type="http://schemas.openxmlformats.org/officeDocument/2006/relationships/tags" Target="../tags/tag329.xml"/><Relationship Id="rId1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195.xml"/><Relationship Id="rId22" Type="http://schemas.openxmlformats.org/officeDocument/2006/relationships/slideLayout" Target="../slideLayouts/slideLayout203.xml"/><Relationship Id="rId27" Type="http://schemas.openxmlformats.org/officeDocument/2006/relationships/slideLayout" Target="../slideLayouts/slideLayout208.xml"/><Relationship Id="rId30" Type="http://schemas.openxmlformats.org/officeDocument/2006/relationships/theme" Target="../theme/theme5.xml"/><Relationship Id="rId35" Type="http://schemas.openxmlformats.org/officeDocument/2006/relationships/tags" Target="../tags/tag269.xml"/><Relationship Id="rId43" Type="http://schemas.openxmlformats.org/officeDocument/2006/relationships/tags" Target="../tags/tag277.xml"/><Relationship Id="rId48" Type="http://schemas.openxmlformats.org/officeDocument/2006/relationships/tags" Target="../tags/tag282.xml"/><Relationship Id="rId56" Type="http://schemas.openxmlformats.org/officeDocument/2006/relationships/tags" Target="../tags/tag290.xml"/><Relationship Id="rId64" Type="http://schemas.openxmlformats.org/officeDocument/2006/relationships/tags" Target="../tags/tag298.xml"/><Relationship Id="rId69" Type="http://schemas.openxmlformats.org/officeDocument/2006/relationships/tags" Target="../tags/tag303.xml"/><Relationship Id="rId77" Type="http://schemas.openxmlformats.org/officeDocument/2006/relationships/tags" Target="../tags/tag311.xml"/><Relationship Id="rId100" Type="http://schemas.openxmlformats.org/officeDocument/2006/relationships/tags" Target="../tags/tag334.xml"/><Relationship Id="rId105" Type="http://schemas.openxmlformats.org/officeDocument/2006/relationships/tags" Target="../tags/tag339.xml"/><Relationship Id="rId113" Type="http://schemas.openxmlformats.org/officeDocument/2006/relationships/tags" Target="../tags/tag347.xml"/><Relationship Id="rId118" Type="http://schemas.openxmlformats.org/officeDocument/2006/relationships/tags" Target="../tags/tag352.xml"/><Relationship Id="rId8" Type="http://schemas.openxmlformats.org/officeDocument/2006/relationships/slideLayout" Target="../slideLayouts/slideLayout189.xml"/><Relationship Id="rId51" Type="http://schemas.openxmlformats.org/officeDocument/2006/relationships/tags" Target="../tags/tag285.xml"/><Relationship Id="rId72" Type="http://schemas.openxmlformats.org/officeDocument/2006/relationships/tags" Target="../tags/tag306.xml"/><Relationship Id="rId80" Type="http://schemas.openxmlformats.org/officeDocument/2006/relationships/tags" Target="../tags/tag314.xml"/><Relationship Id="rId85" Type="http://schemas.openxmlformats.org/officeDocument/2006/relationships/tags" Target="../tags/tag319.xml"/><Relationship Id="rId93" Type="http://schemas.openxmlformats.org/officeDocument/2006/relationships/tags" Target="../tags/tag327.xml"/><Relationship Id="rId98" Type="http://schemas.openxmlformats.org/officeDocument/2006/relationships/tags" Target="../tags/tag332.xml"/><Relationship Id="rId3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5" Type="http://schemas.openxmlformats.org/officeDocument/2006/relationships/slideLayout" Target="../slideLayouts/slideLayout206.xml"/><Relationship Id="rId33" Type="http://schemas.openxmlformats.org/officeDocument/2006/relationships/tags" Target="../tags/tag267.xml"/><Relationship Id="rId38" Type="http://schemas.openxmlformats.org/officeDocument/2006/relationships/tags" Target="../tags/tag272.xml"/><Relationship Id="rId46" Type="http://schemas.openxmlformats.org/officeDocument/2006/relationships/tags" Target="../tags/tag280.xml"/><Relationship Id="rId59" Type="http://schemas.openxmlformats.org/officeDocument/2006/relationships/tags" Target="../tags/tag293.xml"/><Relationship Id="rId67" Type="http://schemas.openxmlformats.org/officeDocument/2006/relationships/tags" Target="../tags/tag301.xml"/><Relationship Id="rId103" Type="http://schemas.openxmlformats.org/officeDocument/2006/relationships/tags" Target="../tags/tag337.xml"/><Relationship Id="rId108" Type="http://schemas.openxmlformats.org/officeDocument/2006/relationships/tags" Target="../tags/tag342.xml"/><Relationship Id="rId116" Type="http://schemas.openxmlformats.org/officeDocument/2006/relationships/tags" Target="../tags/tag350.xml"/><Relationship Id="rId20" Type="http://schemas.openxmlformats.org/officeDocument/2006/relationships/slideLayout" Target="../slideLayouts/slideLayout201.xml"/><Relationship Id="rId41" Type="http://schemas.openxmlformats.org/officeDocument/2006/relationships/tags" Target="../tags/tag275.xml"/><Relationship Id="rId54" Type="http://schemas.openxmlformats.org/officeDocument/2006/relationships/tags" Target="../tags/tag288.xml"/><Relationship Id="rId62" Type="http://schemas.openxmlformats.org/officeDocument/2006/relationships/tags" Target="../tags/tag296.xml"/><Relationship Id="rId70" Type="http://schemas.openxmlformats.org/officeDocument/2006/relationships/tags" Target="../tags/tag304.xml"/><Relationship Id="rId75" Type="http://schemas.openxmlformats.org/officeDocument/2006/relationships/tags" Target="../tags/tag309.xml"/><Relationship Id="rId83" Type="http://schemas.openxmlformats.org/officeDocument/2006/relationships/tags" Target="../tags/tag317.xml"/><Relationship Id="rId88" Type="http://schemas.openxmlformats.org/officeDocument/2006/relationships/tags" Target="../tags/tag322.xml"/><Relationship Id="rId91" Type="http://schemas.openxmlformats.org/officeDocument/2006/relationships/tags" Target="../tags/tag325.xml"/><Relationship Id="rId96" Type="http://schemas.openxmlformats.org/officeDocument/2006/relationships/tags" Target="../tags/tag330.xml"/><Relationship Id="rId111" Type="http://schemas.openxmlformats.org/officeDocument/2006/relationships/tags" Target="../tags/tag345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6.xml"/><Relationship Id="rId23" Type="http://schemas.openxmlformats.org/officeDocument/2006/relationships/slideLayout" Target="../slideLayouts/slideLayout204.xml"/><Relationship Id="rId28" Type="http://schemas.openxmlformats.org/officeDocument/2006/relationships/slideLayout" Target="../slideLayouts/slideLayout209.xml"/><Relationship Id="rId36" Type="http://schemas.openxmlformats.org/officeDocument/2006/relationships/tags" Target="../tags/tag270.xml"/><Relationship Id="rId49" Type="http://schemas.openxmlformats.org/officeDocument/2006/relationships/tags" Target="../tags/tag283.xml"/><Relationship Id="rId57" Type="http://schemas.openxmlformats.org/officeDocument/2006/relationships/tags" Target="../tags/tag291.xml"/><Relationship Id="rId106" Type="http://schemas.openxmlformats.org/officeDocument/2006/relationships/tags" Target="../tags/tag340.xml"/><Relationship Id="rId114" Type="http://schemas.openxmlformats.org/officeDocument/2006/relationships/tags" Target="../tags/tag348.xml"/><Relationship Id="rId10" Type="http://schemas.openxmlformats.org/officeDocument/2006/relationships/slideLayout" Target="../slideLayouts/slideLayout191.xml"/><Relationship Id="rId31" Type="http://schemas.openxmlformats.org/officeDocument/2006/relationships/tags" Target="../tags/tag265.xml"/><Relationship Id="rId44" Type="http://schemas.openxmlformats.org/officeDocument/2006/relationships/tags" Target="../tags/tag278.xml"/><Relationship Id="rId52" Type="http://schemas.openxmlformats.org/officeDocument/2006/relationships/tags" Target="../tags/tag286.xml"/><Relationship Id="rId60" Type="http://schemas.openxmlformats.org/officeDocument/2006/relationships/tags" Target="../tags/tag294.xml"/><Relationship Id="rId65" Type="http://schemas.openxmlformats.org/officeDocument/2006/relationships/tags" Target="../tags/tag299.xml"/><Relationship Id="rId73" Type="http://schemas.openxmlformats.org/officeDocument/2006/relationships/tags" Target="../tags/tag307.xml"/><Relationship Id="rId78" Type="http://schemas.openxmlformats.org/officeDocument/2006/relationships/tags" Target="../tags/tag312.xml"/><Relationship Id="rId81" Type="http://schemas.openxmlformats.org/officeDocument/2006/relationships/tags" Target="../tags/tag315.xml"/><Relationship Id="rId86" Type="http://schemas.openxmlformats.org/officeDocument/2006/relationships/tags" Target="../tags/tag320.xml"/><Relationship Id="rId94" Type="http://schemas.openxmlformats.org/officeDocument/2006/relationships/tags" Target="../tags/tag328.xml"/><Relationship Id="rId99" Type="http://schemas.openxmlformats.org/officeDocument/2006/relationships/tags" Target="../tags/tag333.xml"/><Relationship Id="rId101" Type="http://schemas.openxmlformats.org/officeDocument/2006/relationships/tags" Target="../tags/tag335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39" Type="http://schemas.openxmlformats.org/officeDocument/2006/relationships/tags" Target="../tags/tag273.xml"/><Relationship Id="rId109" Type="http://schemas.openxmlformats.org/officeDocument/2006/relationships/tags" Target="../tags/tag343.xml"/><Relationship Id="rId34" Type="http://schemas.openxmlformats.org/officeDocument/2006/relationships/tags" Target="../tags/tag268.xml"/><Relationship Id="rId50" Type="http://schemas.openxmlformats.org/officeDocument/2006/relationships/tags" Target="../tags/tag284.xml"/><Relationship Id="rId55" Type="http://schemas.openxmlformats.org/officeDocument/2006/relationships/tags" Target="../tags/tag289.xml"/><Relationship Id="rId76" Type="http://schemas.openxmlformats.org/officeDocument/2006/relationships/tags" Target="../tags/tag310.xml"/><Relationship Id="rId97" Type="http://schemas.openxmlformats.org/officeDocument/2006/relationships/tags" Target="../tags/tag331.xml"/><Relationship Id="rId104" Type="http://schemas.openxmlformats.org/officeDocument/2006/relationships/tags" Target="../tags/tag338.xml"/><Relationship Id="rId7" Type="http://schemas.openxmlformats.org/officeDocument/2006/relationships/slideLayout" Target="../slideLayouts/slideLayout188.xml"/><Relationship Id="rId71" Type="http://schemas.openxmlformats.org/officeDocument/2006/relationships/tags" Target="../tags/tag305.xml"/><Relationship Id="rId92" Type="http://schemas.openxmlformats.org/officeDocument/2006/relationships/tags" Target="../tags/tag326.xml"/><Relationship Id="rId2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2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ags" Target="../tags/tag35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1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1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802" r:id="rId11"/>
    <p:sldLayoutId id="2147483804" r:id="rId12"/>
    <p:sldLayoutId id="2147483797" r:id="rId13"/>
    <p:sldLayoutId id="2147483732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90" r:id="rId22"/>
    <p:sldLayoutId id="2147483793" r:id="rId23"/>
    <p:sldLayoutId id="2147483798" r:id="rId24"/>
    <p:sldLayoutId id="2147483794" r:id="rId25"/>
    <p:sldLayoutId id="2147483795" r:id="rId26"/>
    <p:sldLayoutId id="2147483774" r:id="rId27"/>
    <p:sldLayoutId id="2147483775" r:id="rId28"/>
    <p:sldLayoutId id="2147483776" r:id="rId29"/>
    <p:sldLayoutId id="2147483799" r:id="rId30"/>
    <p:sldLayoutId id="2147483800" r:id="rId31"/>
    <p:sldLayoutId id="2147483743" r:id="rId32"/>
    <p:sldLayoutId id="2147483744" r:id="rId33"/>
    <p:sldLayoutId id="2147483803" r:id="rId34"/>
    <p:sldLayoutId id="2147483805" r:id="rId35"/>
    <p:sldLayoutId id="2147483762" r:id="rId36"/>
    <p:sldLayoutId id="2147483751" r:id="rId37"/>
    <p:sldLayoutId id="2147483807" r:id="rId38"/>
    <p:sldLayoutId id="2147484064" r:id="rId39"/>
    <p:sldLayoutId id="2147484072" r:id="rId4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82800" y="324000"/>
            <a:ext cx="1882800" cy="32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45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46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988916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  <p:sldLayoutId id="2147483848" r:id="rId40"/>
    <p:sldLayoutId id="2147483849" r:id="rId41"/>
    <p:sldLayoutId id="2147483850" r:id="rId42"/>
    <p:sldLayoutId id="2147483851" r:id="rId43"/>
    <p:sldLayoutId id="2147483852" r:id="rId44"/>
    <p:sldLayoutId id="2147483853" r:id="rId45"/>
    <p:sldLayoutId id="2147483854" r:id="rId46"/>
    <p:sldLayoutId id="2147483855" r:id="rId47"/>
    <p:sldLayoutId id="2147483856" r:id="rId48"/>
    <p:sldLayoutId id="2147483857" r:id="rId49"/>
    <p:sldLayoutId id="2147483858" r:id="rId50"/>
    <p:sldLayoutId id="2147483859" r:id="rId51"/>
    <p:sldLayoutId id="2147483860" r:id="rId52"/>
    <p:sldLayoutId id="2147483861" r:id="rId53"/>
    <p:sldLayoutId id="2147483862" r:id="rId54"/>
    <p:sldLayoutId id="2147483863" r:id="rId55"/>
    <p:sldLayoutId id="2147483864" r:id="rId56"/>
    <p:sldLayoutId id="2147483865" r:id="rId5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A4A3A4"/>
          </p15:clr>
        </p15:guide>
        <p15:guide id="2" pos="1617">
          <p15:clr>
            <a:srgbClr val="A4A3A4"/>
          </p15:clr>
        </p15:guide>
        <p15:guide id="5" pos="3031">
          <p15:clr>
            <a:srgbClr val="A4A3A4"/>
          </p15:clr>
        </p15:guide>
        <p15:guide id="6" pos="3235">
          <p15:clr>
            <a:srgbClr val="A4A3A4"/>
          </p15:clr>
        </p15:guide>
        <p15:guide id="7" orient="horz" pos="3911">
          <p15:clr>
            <a:srgbClr val="A4A3A4"/>
          </p15:clr>
        </p15:guide>
        <p15:guide id="8" orient="horz" pos="4115">
          <p15:clr>
            <a:srgbClr val="A4A3A4"/>
          </p15:clr>
        </p15:guide>
        <p15:guide id="9" pos="6063">
          <p15:clr>
            <a:srgbClr val="A4A3A4"/>
          </p15:clr>
        </p15:guide>
        <p15:guide id="10" pos="7272">
          <p15:clr>
            <a:srgbClr val="A4A3A4"/>
          </p15:clr>
        </p15:guide>
        <p15:guide id="12" pos="4444">
          <p15:clr>
            <a:srgbClr val="A4A3A4"/>
          </p15:clr>
        </p15:guide>
        <p15:guide id="13" pos="4648">
          <p15:clr>
            <a:srgbClr val="A4A3A4"/>
          </p15:clr>
        </p15:guide>
        <p15:guide id="14" orient="horz" pos="204">
          <p15:clr>
            <a:srgbClr val="A4A3A4"/>
          </p15:clr>
        </p15:guide>
        <p15:guide id="15" orient="horz" pos="408">
          <p15:clr>
            <a:srgbClr val="A4A3A4"/>
          </p15:clr>
        </p15:guide>
        <p15:guide id="16" pos="1821">
          <p15:clr>
            <a:srgbClr val="A4A3A4"/>
          </p15:clr>
        </p15:guide>
        <p15:guide id="18" pos="5859">
          <p15:clr>
            <a:srgbClr val="A4A3A4"/>
          </p15:clr>
        </p15:guide>
        <p15:guide id="20" pos="7476">
          <p15:clr>
            <a:srgbClr val="A4A3A4"/>
          </p15:clr>
        </p15:guide>
        <p15:guide id="21" pos="204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1"/>
            <a:ext cx="10896001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1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1238" y="256314"/>
            <a:ext cx="1921774" cy="5080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513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1" y="324001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324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892001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4812002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5136001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7056000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379999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9300000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624000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11544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324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324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324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324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648000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568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648000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648000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568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324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648000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568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2892001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4812002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1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79999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9624000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11544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2892001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4812002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2892001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4812002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2892001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4812002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1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2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5136001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7056000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5136001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7056000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5136001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1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7379999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9300000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379999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379999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79999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9624000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11544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11544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11544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324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2568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4812002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11544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324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2568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4812002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11544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2892001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5136001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7379999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2892001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5136001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7379999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2821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  <p:sldLayoutId id="2147483889" r:id="rId23"/>
    <p:sldLayoutId id="2147483890" r:id="rId24"/>
    <p:sldLayoutId id="2147483891" r:id="rId25"/>
    <p:sldLayoutId id="2147483892" r:id="rId26"/>
    <p:sldLayoutId id="2147483893" r:id="rId27"/>
    <p:sldLayoutId id="2147483894" r:id="rId28"/>
    <p:sldLayoutId id="2147483895" r:id="rId29"/>
    <p:sldLayoutId id="2147483896" r:id="rId30"/>
    <p:sldLayoutId id="2147483897" r:id="rId31"/>
    <p:sldLayoutId id="2147483898" r:id="rId32"/>
    <p:sldLayoutId id="2147483899" r:id="rId33"/>
    <p:sldLayoutId id="2147483900" r:id="rId34"/>
    <p:sldLayoutId id="2147483901" r:id="rId35"/>
    <p:sldLayoutId id="2147483902" r:id="rId36"/>
    <p:sldLayoutId id="2147483903" r:id="rId37"/>
    <p:sldLayoutId id="2147483904" r:id="rId38"/>
    <p:sldLayoutId id="2147483905" r:id="rId39"/>
    <p:sldLayoutId id="2147483906" r:id="rId40"/>
    <p:sldLayoutId id="2147483907" r:id="rId41"/>
    <p:sldLayoutId id="2147483908" r:id="rId42"/>
    <p:sldLayoutId id="2147483909" r:id="rId43"/>
    <p:sldLayoutId id="2147483910" r:id="rId44"/>
    <p:sldLayoutId id="2147483911" r:id="rId45"/>
    <p:sldLayoutId id="2147483912" r:id="rId46"/>
    <p:sldLayoutId id="2147483913" r:id="rId47"/>
    <p:sldLayoutId id="2147483914" r:id="rId48"/>
    <p:sldLayoutId id="2147483915" r:id="rId49"/>
    <p:sldLayoutId id="2147483916" r:id="rId50"/>
    <p:sldLayoutId id="2147483917" r:id="rId51"/>
    <p:sldLayoutId id="2147483918" r:id="rId52"/>
    <p:sldLayoutId id="2147483919" r:id="rId53"/>
    <p:sldLayoutId id="2147483920" r:id="rId54"/>
    <p:sldLayoutId id="2147483921" r:id="rId55"/>
  </p:sldLayoutIdLst>
  <p:hf hdr="0"/>
  <p:txStyles>
    <p:titleStyle>
      <a:lvl1pPr algn="l" defTabSz="914348" rtl="0" eaLnBrk="1" latinLnBrk="0" hangingPunct="1">
        <a:lnSpc>
          <a:spcPct val="100000"/>
        </a:lnSpc>
        <a:spcBef>
          <a:spcPct val="0"/>
        </a:spcBef>
        <a:buNone/>
        <a:defRPr sz="89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6181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1pPr>
      <a:lvl2pPr marL="92362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2pPr>
      <a:lvl3pPr marL="138542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449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tabLst/>
        <a:defRPr lang="en-GB" sz="449" kern="120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641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641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46181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8pPr>
      <a:lvl9pPr marL="115452" indent="-115452" algn="l" defTabSz="91434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sz="449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26">
          <p15:clr>
            <a:srgbClr val="F26B43"/>
          </p15:clr>
        </p15:guide>
        <p15:guide id="4" orient="horz" pos="252">
          <p15:clr>
            <a:srgbClr val="F26B43"/>
          </p15:clr>
        </p15:guide>
        <p15:guide id="14" orient="horz" pos="6482">
          <p15:clr>
            <a:srgbClr val="F26B43"/>
          </p15:clr>
        </p15:guide>
        <p15:guide id="15" orient="horz" pos="6608">
          <p15:clr>
            <a:srgbClr val="F26B43"/>
          </p15:clr>
        </p15:guide>
        <p15:guide id="16" pos="126">
          <p15:clr>
            <a:srgbClr val="F26B43"/>
          </p15:clr>
        </p15:guide>
        <p15:guide id="17" pos="251">
          <p15:clr>
            <a:srgbClr val="F26B43"/>
          </p15:clr>
        </p15:guide>
        <p15:guide id="20" pos="2317">
          <p15:clr>
            <a:srgbClr val="F26B43"/>
          </p15:clr>
        </p15:guide>
        <p15:guide id="21" pos="2442">
          <p15:clr>
            <a:srgbClr val="F26B43"/>
          </p15:clr>
        </p15:guide>
        <p15:guide id="24" pos="4510">
          <p15:clr>
            <a:srgbClr val="F26B43"/>
          </p15:clr>
        </p15:guide>
        <p15:guide id="26" pos="46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256FD58-C73C-4936-9922-38E097964A05}"/>
              </a:ext>
            </a:extLst>
          </p:cNvPr>
          <p:cNvSpPr/>
          <p:nvPr userDrawn="1"/>
        </p:nvSpPr>
        <p:spPr>
          <a:xfrm>
            <a:off x="203202" y="5943071"/>
            <a:ext cx="2407044" cy="7259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399" dirty="0"/>
          </a:p>
        </p:txBody>
      </p:sp>
      <p:pic>
        <p:nvPicPr>
          <p:cNvPr id="4" name="Object 3"/>
          <p:cNvPicPr>
            <a:picLocks noChangeAspect="1"/>
          </p:cNvPicPr>
          <p:nvPr/>
        </p:nvPicPr>
        <p:blipFill>
          <a:blip r:embed="rId31"/>
          <a:srcRect/>
          <a:stretch>
            <a:fillRect/>
          </a:stretch>
        </p:blipFill>
        <p:spPr bwMode="auto">
          <a:xfrm>
            <a:off x="2122" y="2121"/>
            <a:ext cx="2116" cy="2115"/>
          </a:xfrm>
          <a:prstGeom prst="rect">
            <a:avLst/>
          </a:prstGeom>
          <a:noFill/>
        </p:spPr>
      </p:pic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22400" y="1749632"/>
            <a:ext cx="11347200" cy="3941053"/>
          </a:xfrm>
          <a:prstGeom prst="rect">
            <a:avLst/>
          </a:prstGeom>
        </p:spPr>
        <p:txBody>
          <a:bodyPr vert="horz" lIns="0" tIns="0" rIns="215995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FDB8AB-3411-4215-9B73-24863109F281}"/>
              </a:ext>
            </a:extLst>
          </p:cNvPr>
          <p:cNvGrpSpPr/>
          <p:nvPr userDrawn="1"/>
        </p:nvGrpSpPr>
        <p:grpSpPr>
          <a:xfrm>
            <a:off x="10629902" y="5690685"/>
            <a:ext cx="1562100" cy="1167316"/>
            <a:chOff x="7972425" y="4271965"/>
            <a:chExt cx="1171575" cy="876298"/>
          </a:xfrm>
        </p:grpSpPr>
        <p:pic>
          <p:nvPicPr>
            <p:cNvPr id="10" name="Picture 9" descr="NN_ppt_logo.png">
              <a:extLst>
                <a:ext uri="{FF2B5EF4-FFF2-40B4-BE49-F238E27FC236}">
                  <a16:creationId xmlns:a16="http://schemas.microsoft.com/office/drawing/2014/main" id="{FD7FCF18-E471-47F0-B28C-13E3DF30C08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200" t="-31315" r="-45315" b="-51634"/>
            <a:stretch/>
          </p:blipFill>
          <p:spPr>
            <a:xfrm>
              <a:off x="7972425" y="4271965"/>
              <a:ext cx="1171575" cy="876298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990FC8D-39D4-437E-BD06-A77BC1C4A610}"/>
                </a:ext>
              </a:extLst>
            </p:cNvPr>
            <p:cNvSpPr/>
            <p:nvPr userDrawn="1"/>
          </p:nvSpPr>
          <p:spPr>
            <a:xfrm>
              <a:off x="8101012" y="4368796"/>
              <a:ext cx="914400" cy="6667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2399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69CD123-F46E-4E3E-8A61-E911E1D667D2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423792"/>
            <a:ext cx="2748492" cy="154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29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6" r:id="rId23"/>
    <p:sldLayoutId id="2147483957" r:id="rId24"/>
    <p:sldLayoutId id="2147483958" r:id="rId25"/>
    <p:sldLayoutId id="2147483959" r:id="rId26"/>
    <p:sldLayoutId id="2147483960" r:id="rId27"/>
    <p:sldLayoutId id="2147483961" r:id="rId28"/>
    <p:sldLayoutId id="2147483962" r:id="rId2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1218012" rtl="0" eaLnBrk="1" latinLnBrk="0" hangingPunct="1">
        <a:spcBef>
          <a:spcPct val="0"/>
        </a:spcBef>
        <a:buNone/>
        <a:defRPr sz="3197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53139" indent="-353139" algn="l" defTabSz="1218012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2399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4735" indent="-361599" algn="l" defTabSz="1218012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2131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6334" indent="-361599" algn="l" defTabSz="1218012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865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3170" indent="-236837" algn="l" defTabSz="1218012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5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4766" indent="-245294" algn="l" defTabSz="1218012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465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49531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58537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7544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6549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006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012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017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6022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5029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4035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3040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2046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3849F413-F251-44C4-B7BA-891C8AB4F5BF}" type="datetime3">
              <a:rPr lang="en-US" smtClean="0"/>
              <a:pPr/>
              <a:t>25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5" name="Tagline" descr="{&quot;templafy&quot;:{&quot;id&quot;:&quot;1abbc6e5-7f90-4ec7-bd50-37662db4c5b8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49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  <p:sldLayoutId id="2147483998" r:id="rId21"/>
    <p:sldLayoutId id="2147483999" r:id="rId22"/>
    <p:sldLayoutId id="2147484000" r:id="rId23"/>
    <p:sldLayoutId id="2147484001" r:id="rId24"/>
    <p:sldLayoutId id="2147484002" r:id="rId25"/>
    <p:sldLayoutId id="2147484003" r:id="rId26"/>
    <p:sldLayoutId id="2147484004" r:id="rId27"/>
    <p:sldLayoutId id="2147484005" r:id="rId28"/>
    <p:sldLayoutId id="2147484006" r:id="rId29"/>
  </p:sldLayoutIdLst>
  <p:hf sldNum="0"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733" kern="1200">
          <a:solidFill>
            <a:schemeClr val="tx2"/>
          </a:solidFill>
          <a:latin typeface="Apis For Office" panose="020B0504010101010104" pitchFamily="34" charset="0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1429155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3335" y="1750486"/>
            <a:ext cx="11345333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5" y="687919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8480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65" r:id="rId8"/>
    <p:sldLayoutId id="2147484066" r:id="rId9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5pPr>
      <a:lvl6pPr marL="60957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6pPr>
      <a:lvl7pPr marL="121914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7pPr>
      <a:lvl8pPr marL="1828709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8pPr>
      <a:lvl9pPr marL="2438278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9pPr>
    </p:titleStyle>
    <p:bodyStyle>
      <a:lvl1pPr marL="353466" indent="-353466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397" indent="-361934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30" indent="-361934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386" indent="-237055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17" indent="-245521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52">
          <p15:clr>
            <a:srgbClr val="000000"/>
          </p15:clr>
        </p15:guide>
        <p15:guide id="2" orient="horz" pos="755">
          <p15:clr>
            <a:srgbClr val="00000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217AB49-1B67-024B-A752-7E30D8304187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25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E7206488-EF6D-E74F-8CC6-503FE6D33B79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4572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60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2.xml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2.png"/><Relationship Id="rId12" Type="http://schemas.openxmlformats.org/officeDocument/2006/relationships/image" Target="../media/image5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45.svg"/><Relationship Id="rId11" Type="http://schemas.openxmlformats.org/officeDocument/2006/relationships/image" Target="../media/image44.png"/><Relationship Id="rId5" Type="http://schemas.openxmlformats.org/officeDocument/2006/relationships/image" Target="../media/image41.png"/><Relationship Id="rId10" Type="http://schemas.openxmlformats.org/officeDocument/2006/relationships/image" Target="../media/image49.svg"/><Relationship Id="rId4" Type="http://schemas.openxmlformats.org/officeDocument/2006/relationships/image" Target="../media/image43.svg"/><Relationship Id="rId9" Type="http://schemas.openxmlformats.org/officeDocument/2006/relationships/image" Target="../media/image43.png"/><Relationship Id="rId14" Type="http://schemas.openxmlformats.org/officeDocument/2006/relationships/image" Target="../media/image5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2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2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6.png"/><Relationship Id="rId4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96D5B519-822E-B748-B521-2E8BD763F38E}"/>
              </a:ext>
            </a:extLst>
          </p:cNvPr>
          <p:cNvSpPr txBox="1"/>
          <p:nvPr/>
        </p:nvSpPr>
        <p:spPr>
          <a:xfrm>
            <a:off x="2312068" y="4617923"/>
            <a:ext cx="7567863" cy="1754326"/>
          </a:xfrm>
          <a:prstGeom prst="rect">
            <a:avLst/>
          </a:prstGeom>
          <a:noFill/>
        </p:spPr>
        <p:txBody>
          <a:bodyPr vert="horz" wrap="square" lIns="180000" rIns="180000" rtlCol="0" anchor="ctr" anchorCtr="0">
            <a:spAutoFit/>
          </a:bodyPr>
          <a:lstStyle/>
          <a:p>
            <a:pPr algn="ctr">
              <a:defRPr/>
            </a:pPr>
            <a:r>
              <a:rPr lang="it-IT" sz="2000" dirty="0" smtClean="0">
                <a:solidFill>
                  <a:srgbClr val="285BA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efano </a:t>
            </a:r>
            <a:r>
              <a:rPr lang="it-IT" sz="2000" dirty="0" err="1" smtClean="0">
                <a:solidFill>
                  <a:srgbClr val="285BA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adellini</a:t>
            </a:r>
            <a:endParaRPr lang="it-IT" sz="2000" dirty="0" smtClean="0">
              <a:solidFill>
                <a:srgbClr val="285BA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it-IT" dirty="0" smtClean="0">
              <a:solidFill>
                <a:srgbClr val="285BA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it-IT" sz="1400" dirty="0" smtClean="0">
                <a:solidFill>
                  <a:srgbClr val="285BA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OC Malattie Endocrine, del Ricambio e della Nutrizione</a:t>
            </a:r>
          </a:p>
          <a:p>
            <a:pPr algn="ctr">
              <a:defRPr/>
            </a:pPr>
            <a:r>
              <a:rPr lang="it-IT" sz="1400" dirty="0" smtClean="0">
                <a:solidFill>
                  <a:srgbClr val="285BA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liclinico P. Giaccone Palermo</a:t>
            </a:r>
          </a:p>
          <a:p>
            <a:pPr algn="ctr">
              <a:defRPr/>
            </a:pPr>
            <a:endParaRPr lang="it-IT" sz="1400" dirty="0" smtClean="0">
              <a:solidFill>
                <a:srgbClr val="285BA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it-IT" sz="1400" dirty="0" smtClean="0">
                <a:solidFill>
                  <a:srgbClr val="285BA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partimento di Promozione della Salute, Materno-Infantile, Medicina Interna e Specialistica di Eccellenza «G. D’Alessandro» Università di Palermo</a:t>
            </a:r>
            <a:endParaRPr lang="it-IT" sz="1400" dirty="0">
              <a:solidFill>
                <a:srgbClr val="285BA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96D5B519-822E-B748-B521-2E8BD763F38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-397042" y="2744541"/>
            <a:ext cx="12785556" cy="2819401"/>
          </a:xfrm>
          <a:prstGeom prst="rect">
            <a:avLst/>
          </a:prstGeom>
          <a:noFill/>
        </p:spPr>
        <p:txBody>
          <a:bodyPr vert="horz" wrap="square" lIns="180000" rIns="180000" rtlCol="0" anchor="ctr" anchorCtr="0">
            <a:normAutofit/>
          </a:bodyPr>
          <a:lstStyle/>
          <a:p>
            <a:pPr marL="0" lvl="0" indent="0" algn="ctr">
              <a:buNone/>
            </a:pPr>
            <a:r>
              <a:rPr lang="it-IT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ndrome metabolica: implicazioni endocrinologiche e </a:t>
            </a:r>
            <a:endParaRPr lang="it-IT" sz="2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0" indent="0" algn="ctr">
              <a:buNone/>
            </a:pPr>
            <a:r>
              <a:rPr lang="it-IT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taboliche </a:t>
            </a:r>
            <a:r>
              <a:rPr lang="it-IT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lla fertilità</a:t>
            </a:r>
            <a:endParaRPr lang="it-IT" sz="2400" b="1" dirty="0">
              <a:solidFill>
                <a:srgbClr val="285BA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2"/>
          <a:srcRect l="21345" t="4981" r="16274" b="1"/>
          <a:stretch/>
        </p:blipFill>
        <p:spPr>
          <a:xfrm>
            <a:off x="10720698" y="6168513"/>
            <a:ext cx="1471302" cy="684470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3"/>
          <a:srcRect t="5137" r="22246" b="-1"/>
          <a:stretch/>
        </p:blipFill>
        <p:spPr>
          <a:xfrm>
            <a:off x="0" y="6288240"/>
            <a:ext cx="2188625" cy="564743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 rotWithShape="1">
          <a:blip r:embed="rId4"/>
          <a:srcRect l="54553" t="28361" r="2320" b="20415"/>
          <a:stretch/>
        </p:blipFill>
        <p:spPr>
          <a:xfrm>
            <a:off x="3653588" y="379581"/>
            <a:ext cx="4684297" cy="312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1999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o 8">
            <a:extLst>
              <a:ext uri="{FF2B5EF4-FFF2-40B4-BE49-F238E27FC236}">
                <a16:creationId xmlns:a16="http://schemas.microsoft.com/office/drawing/2014/main" id="{56566379-BE4F-4B46-8287-DF45FA63FAB4}"/>
              </a:ext>
            </a:extLst>
          </p:cNvPr>
          <p:cNvGrpSpPr/>
          <p:nvPr/>
        </p:nvGrpSpPr>
        <p:grpSpPr>
          <a:xfrm>
            <a:off x="471790" y="1807555"/>
            <a:ext cx="4971916" cy="3853803"/>
            <a:chOff x="415804" y="431118"/>
            <a:chExt cx="4971916" cy="3853803"/>
          </a:xfrm>
        </p:grpSpPr>
        <p:pic>
          <p:nvPicPr>
            <p:cNvPr id="4" name="Main graphic">
              <a:extLst>
                <a:ext uri="{FF2B5EF4-FFF2-40B4-BE49-F238E27FC236}">
                  <a16:creationId xmlns:a16="http://schemas.microsoft.com/office/drawing/2014/main" id="{CEC34834-25B6-4B27-A696-2ACECBEBC05E}"/>
                </a:ext>
              </a:extLst>
            </p:cNvPr>
            <p:cNvPicPr/>
            <p:nvPr/>
          </p:nvPicPr>
          <p:blipFill>
            <a:blip r:embed="rId3"/>
            <a:stretch/>
          </p:blipFill>
          <p:spPr>
            <a:xfrm>
              <a:off x="415804" y="1182240"/>
              <a:ext cx="4971916" cy="3102681"/>
            </a:xfrm>
            <a:prstGeom prst="rect">
              <a:avLst/>
            </a:prstGeom>
            <a:ln>
              <a:noFill/>
            </a:ln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1264F823-9FE6-492E-9156-07AAF9C3AD08}"/>
                </a:ext>
              </a:extLst>
            </p:cNvPr>
            <p:cNvSpPr txBox="1"/>
            <p:nvPr/>
          </p:nvSpPr>
          <p:spPr>
            <a:xfrm>
              <a:off x="657366" y="431118"/>
              <a:ext cx="47303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1965">
                      <a:lumMod val="50000"/>
                    </a:srgbClr>
                  </a:solidFill>
                  <a:effectLst/>
                  <a:uLnTx/>
                  <a:uFillTx/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Negative association between the number of collected oocytes and BMI and women’s age</a:t>
              </a:r>
            </a:p>
          </p:txBody>
        </p:sp>
      </p:grpSp>
      <p:sp>
        <p:nvSpPr>
          <p:cNvPr id="6" name="CustomShape 1">
            <a:extLst>
              <a:ext uri="{FF2B5EF4-FFF2-40B4-BE49-F238E27FC236}">
                <a16:creationId xmlns:a16="http://schemas.microsoft.com/office/drawing/2014/main" id="{1279F4F9-0FEF-4B7D-903D-10CDFC6F9C09}"/>
              </a:ext>
            </a:extLst>
          </p:cNvPr>
          <p:cNvSpPr/>
          <p:nvPr/>
        </p:nvSpPr>
        <p:spPr>
          <a:xfrm>
            <a:off x="14404156" y="1663452"/>
            <a:ext cx="181822" cy="30995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6800" rIns="90000" bIns="468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FC5313AF-7D06-44C6-84F6-EEF685867DF0}"/>
              </a:ext>
            </a:extLst>
          </p:cNvPr>
          <p:cNvGrpSpPr/>
          <p:nvPr/>
        </p:nvGrpSpPr>
        <p:grpSpPr>
          <a:xfrm>
            <a:off x="5897946" y="1795716"/>
            <a:ext cx="5694366" cy="3812699"/>
            <a:chOff x="5841960" y="344631"/>
            <a:chExt cx="5694366" cy="3812699"/>
          </a:xfrm>
        </p:grpSpPr>
        <p:pic>
          <p:nvPicPr>
            <p:cNvPr id="7" name="Main graphic">
              <a:extLst>
                <a:ext uri="{FF2B5EF4-FFF2-40B4-BE49-F238E27FC236}">
                  <a16:creationId xmlns:a16="http://schemas.microsoft.com/office/drawing/2014/main" id="{AC6439B5-BAA2-47F3-A82E-717D15ABD8FE}"/>
                </a:ext>
              </a:extLst>
            </p:cNvPr>
            <p:cNvPicPr/>
            <p:nvPr/>
          </p:nvPicPr>
          <p:blipFill>
            <a:blip r:embed="rId4"/>
            <a:stretch/>
          </p:blipFill>
          <p:spPr>
            <a:xfrm>
              <a:off x="5841960" y="1182240"/>
              <a:ext cx="5694366" cy="2975090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086E4A17-5435-465B-B071-4B744C6DF80A}"/>
                </a:ext>
              </a:extLst>
            </p:cNvPr>
            <p:cNvSpPr txBox="1"/>
            <p:nvPr/>
          </p:nvSpPr>
          <p:spPr>
            <a:xfrm>
              <a:off x="6041178" y="344631"/>
              <a:ext cx="39832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1965">
                      <a:lumMod val="50000"/>
                    </a:srgbClr>
                  </a:solidFill>
                  <a:effectLst/>
                  <a:uLnTx/>
                  <a:uFillTx/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Fewer embryos in obese women </a:t>
              </a: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23AA0661-A0F4-4F17-B5EB-27C8A1491A25}"/>
              </a:ext>
            </a:extLst>
          </p:cNvPr>
          <p:cNvSpPr txBox="1">
            <a:spLocks/>
          </p:cNvSpPr>
          <p:nvPr/>
        </p:nvSpPr>
        <p:spPr>
          <a:xfrm>
            <a:off x="617845" y="685750"/>
            <a:ext cx="11347200" cy="5218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Fertility outcomes related to BMI</a:t>
            </a:r>
          </a:p>
        </p:txBody>
      </p:sp>
      <p:sp>
        <p:nvSpPr>
          <p:cNvPr id="16" name="Segnaposto numero diapositiva 5">
            <a:extLst>
              <a:ext uri="{FF2B5EF4-FFF2-40B4-BE49-F238E27FC236}">
                <a16:creationId xmlns:a16="http://schemas.microsoft.com/office/drawing/2014/main" id="{4E407334-9609-43C3-8971-044576E5AE79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E078BA3D-3186-4B61-A7EE-152E4FA7289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inborg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A et al.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eprod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Biomed Online 2011; 23 (4): 490- 499.</a:t>
            </a:r>
          </a:p>
        </p:txBody>
      </p:sp>
    </p:spTree>
    <p:extLst>
      <p:ext uri="{BB962C8B-B14F-4D97-AF65-F5344CB8AC3E}">
        <p14:creationId xmlns:p14="http://schemas.microsoft.com/office/powerpoint/2010/main" val="379992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lide Number Placeholder 1">
            <a:extLst>
              <a:ext uri="{FF2B5EF4-FFF2-40B4-BE49-F238E27FC236}">
                <a16:creationId xmlns:a16="http://schemas.microsoft.com/office/drawing/2014/main" id="{9149C9F2-0149-4336-B8C4-19D70CCCF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15" name="Slide Number">
            <a:extLst>
              <a:ext uri="{FF2B5EF4-FFF2-40B4-BE49-F238E27FC236}">
                <a16:creationId xmlns:a16="http://schemas.microsoft.com/office/drawing/2014/main" id="{B17D4400-21E1-4905-BAB9-84E971CEE32E}"/>
              </a:ext>
            </a:extLst>
          </p:cNvPr>
          <p:cNvSpPr txBox="1">
            <a:spLocks/>
          </p:cNvSpPr>
          <p:nvPr/>
        </p:nvSpPr>
        <p:spPr>
          <a:xfrm>
            <a:off x="11202322" y="415925"/>
            <a:ext cx="709356" cy="361950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GB" smtClean="0">
                <a:solidFill>
                  <a:schemeClr val="bg1"/>
                </a:solidFill>
              </a:rPr>
              <a:pPr/>
              <a:t>11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id="{C9355F9E-92DC-4B67-BEA6-FC8CF33B7F82}"/>
              </a:ext>
            </a:extLst>
          </p:cNvPr>
          <p:cNvSpPr txBox="1">
            <a:spLocks/>
          </p:cNvSpPr>
          <p:nvPr/>
        </p:nvSpPr>
        <p:spPr>
          <a:xfrm>
            <a:off x="648000" y="648000"/>
            <a:ext cx="9753300" cy="12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e impact of obesity on in vitro fertilisation outcomes</a:t>
            </a:r>
          </a:p>
        </p:txBody>
      </p:sp>
      <p:sp>
        <p:nvSpPr>
          <p:cNvPr id="117" name="Rettangolo 116">
            <a:extLst>
              <a:ext uri="{FF2B5EF4-FFF2-40B4-BE49-F238E27FC236}">
                <a16:creationId xmlns:a16="http://schemas.microsoft.com/office/drawing/2014/main" id="{7F301B0F-28E0-48EE-81A2-89E2A137E30F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amian et al. Obesity and fertility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orm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Mol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io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Clin Invest 2015; 24(1): 5–10</a:t>
            </a:r>
            <a:r>
              <a:rPr lang="nl-NL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  <a:endParaRPr lang="fr-F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118" name="Group 3">
            <a:extLst>
              <a:ext uri="{FF2B5EF4-FFF2-40B4-BE49-F238E27FC236}">
                <a16:creationId xmlns:a16="http://schemas.microsoft.com/office/drawing/2014/main" id="{C676B41E-0743-4DB0-9FF0-DB87C8B06A55}"/>
              </a:ext>
            </a:extLst>
          </p:cNvPr>
          <p:cNvGrpSpPr/>
          <p:nvPr/>
        </p:nvGrpSpPr>
        <p:grpSpPr>
          <a:xfrm>
            <a:off x="2854011" y="1890924"/>
            <a:ext cx="6326666" cy="2104074"/>
            <a:chOff x="1639811" y="1286924"/>
            <a:chExt cx="5919153" cy="1799822"/>
          </a:xfrm>
        </p:grpSpPr>
        <p:sp>
          <p:nvSpPr>
            <p:cNvPr id="119" name="Rounded Rectangle 23">
              <a:extLst>
                <a:ext uri="{FF2B5EF4-FFF2-40B4-BE49-F238E27FC236}">
                  <a16:creationId xmlns:a16="http://schemas.microsoft.com/office/drawing/2014/main" id="{10762617-D2B0-4191-BF74-D4865BDED461}"/>
                </a:ext>
              </a:extLst>
            </p:cNvPr>
            <p:cNvSpPr/>
            <p:nvPr/>
          </p:nvSpPr>
          <p:spPr>
            <a:xfrm>
              <a:off x="1639811" y="1298599"/>
              <a:ext cx="5864377" cy="481678"/>
            </a:xfrm>
            <a:prstGeom prst="roundRect">
              <a:avLst/>
            </a:prstGeom>
            <a:solidFill>
              <a:srgbClr val="001965"/>
            </a:solidFill>
            <a:ln w="9525">
              <a:solidFill>
                <a:srgbClr val="0019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20" name="TextBox 24">
              <a:extLst>
                <a:ext uri="{FF2B5EF4-FFF2-40B4-BE49-F238E27FC236}">
                  <a16:creationId xmlns:a16="http://schemas.microsoft.com/office/drawing/2014/main" id="{A0FB239E-853B-4B97-90A2-1C89A883F5DF}"/>
                </a:ext>
              </a:extLst>
            </p:cNvPr>
            <p:cNvSpPr txBox="1"/>
            <p:nvPr/>
          </p:nvSpPr>
          <p:spPr>
            <a:xfrm>
              <a:off x="1694587" y="1286924"/>
              <a:ext cx="5864377" cy="500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600" dirty="0">
                  <a:solidFill>
                    <a:srgbClr val="FFFFFF"/>
                  </a:solidFill>
                </a:rPr>
                <a:t>With </a:t>
              </a:r>
              <a:r>
                <a:rPr lang="en-GB" sz="1600" b="1" dirty="0">
                  <a:solidFill>
                    <a:srgbClr val="FFFFFF"/>
                  </a:solidFill>
                </a:rPr>
                <a:t>overweight</a:t>
              </a:r>
              <a:r>
                <a:rPr lang="en-GB" sz="1600" dirty="0">
                  <a:solidFill>
                    <a:srgbClr val="FFFFFF"/>
                  </a:solidFill>
                </a:rPr>
                <a:t> and </a:t>
              </a:r>
              <a:r>
                <a:rPr lang="en-GB" sz="1600" b="1" dirty="0">
                  <a:solidFill>
                    <a:srgbClr val="FFFFFF"/>
                  </a:solidFill>
                </a:rPr>
                <a:t>obesity</a:t>
              </a:r>
              <a:r>
                <a:rPr lang="en-GB" sz="1600">
                  <a:solidFill>
                    <a:srgbClr val="FFFFFF"/>
                  </a:solidFill>
                </a:rPr>
                <a:t>, </a:t>
              </a:r>
              <a:r>
                <a:rPr lang="en-GB" sz="1600" b="1">
                  <a:solidFill>
                    <a:srgbClr val="FFFFFF"/>
                  </a:solidFill>
                </a:rPr>
                <a:t>ovarian </a:t>
              </a:r>
              <a:r>
                <a:rPr lang="en-GB" sz="1600" b="1" dirty="0">
                  <a:solidFill>
                    <a:srgbClr val="FFFFFF"/>
                  </a:solidFill>
                </a:rPr>
                <a:t>stimulation periods </a:t>
              </a:r>
              <a:r>
                <a:rPr lang="en-GB" sz="1600" dirty="0">
                  <a:solidFill>
                    <a:srgbClr val="FFFFFF"/>
                  </a:solidFill>
                </a:rPr>
                <a:t>are more likely to be </a:t>
              </a:r>
              <a:r>
                <a:rPr lang="en-GB" sz="1600" b="1" dirty="0">
                  <a:solidFill>
                    <a:srgbClr val="FFFFFF"/>
                  </a:solidFill>
                </a:rPr>
                <a:t>lengthened</a:t>
              </a:r>
            </a:p>
          </p:txBody>
        </p:sp>
        <p:grpSp>
          <p:nvGrpSpPr>
            <p:cNvPr id="121" name="Group 1">
              <a:extLst>
                <a:ext uri="{FF2B5EF4-FFF2-40B4-BE49-F238E27FC236}">
                  <a16:creationId xmlns:a16="http://schemas.microsoft.com/office/drawing/2014/main" id="{C594ACC5-56E7-4372-98C5-7C8B87402CFA}"/>
                </a:ext>
              </a:extLst>
            </p:cNvPr>
            <p:cNvGrpSpPr/>
            <p:nvPr/>
          </p:nvGrpSpPr>
          <p:grpSpPr>
            <a:xfrm>
              <a:off x="1639811" y="2283644"/>
              <a:ext cx="5864377" cy="803102"/>
              <a:chOff x="1639811" y="2251840"/>
              <a:chExt cx="5864377" cy="803102"/>
            </a:xfrm>
          </p:grpSpPr>
          <p:sp>
            <p:nvSpPr>
              <p:cNvPr id="123" name="Rounded Rectangle 17">
                <a:extLst>
                  <a:ext uri="{FF2B5EF4-FFF2-40B4-BE49-F238E27FC236}">
                    <a16:creationId xmlns:a16="http://schemas.microsoft.com/office/drawing/2014/main" id="{88EBBAA6-DAAF-48A2-9103-97F2759D2539}"/>
                  </a:ext>
                </a:extLst>
              </p:cNvPr>
              <p:cNvSpPr/>
              <p:nvPr/>
            </p:nvSpPr>
            <p:spPr>
              <a:xfrm>
                <a:off x="1639811" y="2251840"/>
                <a:ext cx="5864377" cy="675819"/>
              </a:xfrm>
              <a:prstGeom prst="roundRect">
                <a:avLst/>
              </a:prstGeom>
              <a:solidFill>
                <a:srgbClr val="AEA79F"/>
              </a:solidFill>
              <a:ln w="9525">
                <a:solidFill>
                  <a:srgbClr val="AEA79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TextBox 12">
                <a:extLst>
                  <a:ext uri="{FF2B5EF4-FFF2-40B4-BE49-F238E27FC236}">
                    <a16:creationId xmlns:a16="http://schemas.microsoft.com/office/drawing/2014/main" id="{238F6AD4-2998-4A38-B3CD-D7E369980C8A}"/>
                  </a:ext>
                </a:extLst>
              </p:cNvPr>
              <p:cNvSpPr txBox="1"/>
              <p:nvPr/>
            </p:nvSpPr>
            <p:spPr>
              <a:xfrm>
                <a:off x="1639811" y="2344108"/>
                <a:ext cx="5864377" cy="7108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>
                  <a:defRPr/>
                </a:pPr>
                <a:r>
                  <a:rPr lang="en-GB" sz="1600" dirty="0">
                    <a:solidFill>
                      <a:srgbClr val="FFFFFF"/>
                    </a:solidFill>
                  </a:rPr>
                  <a:t>C</a:t>
                </a:r>
                <a:r>
                  <a:rPr lang="en-US" sz="1600" dirty="0" err="1">
                    <a:solidFill>
                      <a:srgbClr val="FFFFFF"/>
                    </a:solidFill>
                  </a:rPr>
                  <a:t>ompared</a:t>
                </a:r>
                <a:r>
                  <a:rPr lang="en-US" sz="1600" dirty="0">
                    <a:solidFill>
                      <a:srgbClr val="FFFFFF"/>
                    </a:solidFill>
                  </a:rPr>
                  <a:t> with women with BMI 25 or below, </a:t>
                </a:r>
                <a:r>
                  <a:rPr lang="en-US" sz="1600" b="1" dirty="0">
                    <a:solidFill>
                      <a:srgbClr val="FFFFFF"/>
                    </a:solidFill>
                  </a:rPr>
                  <a:t>those with higher BMI have</a:t>
                </a:r>
              </a:p>
              <a:p>
                <a:pPr algn="ctr" defTabSz="1219170">
                  <a:defRPr/>
                </a:pPr>
                <a:endParaRPr lang="en-GB" sz="16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2" name="Down Arrow 39">
              <a:extLst>
                <a:ext uri="{FF2B5EF4-FFF2-40B4-BE49-F238E27FC236}">
                  <a16:creationId xmlns:a16="http://schemas.microsoft.com/office/drawing/2014/main" id="{2DF811DB-DBA0-44BE-9D17-245D885A39FC}"/>
                </a:ext>
              </a:extLst>
            </p:cNvPr>
            <p:cNvSpPr/>
            <p:nvPr/>
          </p:nvSpPr>
          <p:spPr>
            <a:xfrm>
              <a:off x="4383739" y="1837871"/>
              <a:ext cx="376518" cy="431075"/>
            </a:xfrm>
            <a:prstGeom prst="downArrow">
              <a:avLst/>
            </a:prstGeom>
            <a:solidFill>
              <a:srgbClr val="009FD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25" name="Rounded Rectangle 19">
            <a:extLst>
              <a:ext uri="{FF2B5EF4-FFF2-40B4-BE49-F238E27FC236}">
                <a16:creationId xmlns:a16="http://schemas.microsoft.com/office/drawing/2014/main" id="{BAA437AE-95CE-4944-9495-447266943E55}"/>
              </a:ext>
            </a:extLst>
          </p:cNvPr>
          <p:cNvSpPr/>
          <p:nvPr/>
        </p:nvSpPr>
        <p:spPr>
          <a:xfrm>
            <a:off x="985265" y="4523069"/>
            <a:ext cx="3659275" cy="918521"/>
          </a:xfrm>
          <a:prstGeom prst="round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1. Reduced pregnancy rates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(OR 0.71,95% CI 0.62–0.81) </a:t>
            </a:r>
          </a:p>
        </p:txBody>
      </p:sp>
      <p:sp>
        <p:nvSpPr>
          <p:cNvPr id="126" name="Rounded Rectangle 19">
            <a:extLst>
              <a:ext uri="{FF2B5EF4-FFF2-40B4-BE49-F238E27FC236}">
                <a16:creationId xmlns:a16="http://schemas.microsoft.com/office/drawing/2014/main" id="{A35604EB-239A-4E07-8B5E-634243E3FA4B}"/>
              </a:ext>
            </a:extLst>
          </p:cNvPr>
          <p:cNvSpPr/>
          <p:nvPr/>
        </p:nvSpPr>
        <p:spPr>
          <a:xfrm>
            <a:off x="3107394" y="5645361"/>
            <a:ext cx="6163790" cy="918521"/>
          </a:xfrm>
          <a:prstGeom prst="round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3. </a:t>
            </a:r>
            <a:r>
              <a:rPr lang="en-GB" sz="1600" dirty="0">
                <a:solidFill>
                  <a:schemeClr val="bg1"/>
                </a:solidFill>
              </a:rPr>
              <a:t>Require</a:t>
            </a:r>
            <a:r>
              <a:rPr lang="en-GB" sz="1600" b="1" dirty="0">
                <a:solidFill>
                  <a:schemeClr val="bg1"/>
                </a:solidFill>
              </a:rPr>
              <a:t> higher doses of gonadotrophins for stimulation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(weighed mean differences 210.08, 95% CI 149.12–271.05)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7" name="Rounded Rectangle 19">
            <a:extLst>
              <a:ext uri="{FF2B5EF4-FFF2-40B4-BE49-F238E27FC236}">
                <a16:creationId xmlns:a16="http://schemas.microsoft.com/office/drawing/2014/main" id="{EA91B4A5-6055-4826-AB1B-DF46B3FF37CB}"/>
              </a:ext>
            </a:extLst>
          </p:cNvPr>
          <p:cNvSpPr/>
          <p:nvPr/>
        </p:nvSpPr>
        <p:spPr>
          <a:xfrm>
            <a:off x="7282017" y="4524805"/>
            <a:ext cx="4399526" cy="918521"/>
          </a:xfrm>
          <a:prstGeom prst="round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. </a:t>
            </a:r>
            <a:r>
              <a:rPr lang="en-GB" sz="1600" b="1" dirty="0">
                <a:solidFill>
                  <a:schemeClr val="bg1"/>
                </a:solidFill>
              </a:rPr>
              <a:t>Have an increased risk of miscarriage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(OR 1.33, 95% CI 1.06–168)</a:t>
            </a:r>
          </a:p>
        </p:txBody>
      </p:sp>
      <p:sp>
        <p:nvSpPr>
          <p:cNvPr id="128" name="Down Arrow 39">
            <a:extLst>
              <a:ext uri="{FF2B5EF4-FFF2-40B4-BE49-F238E27FC236}">
                <a16:creationId xmlns:a16="http://schemas.microsoft.com/office/drawing/2014/main" id="{504F6DC8-C3FF-4D7F-BDB5-F234BB193EB1}"/>
              </a:ext>
            </a:extLst>
          </p:cNvPr>
          <p:cNvSpPr/>
          <p:nvPr/>
        </p:nvSpPr>
        <p:spPr>
          <a:xfrm>
            <a:off x="5786849" y="3922687"/>
            <a:ext cx="402440" cy="1644521"/>
          </a:xfrm>
          <a:prstGeom prst="downArrow">
            <a:avLst/>
          </a:prstGeom>
          <a:solidFill>
            <a:srgbClr val="009F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9" name="Freccia bidirezionale orizzontale 128">
            <a:extLst>
              <a:ext uri="{FF2B5EF4-FFF2-40B4-BE49-F238E27FC236}">
                <a16:creationId xmlns:a16="http://schemas.microsoft.com/office/drawing/2014/main" id="{49D48A98-61BD-4A45-8F73-1C99B2869A8D}"/>
              </a:ext>
            </a:extLst>
          </p:cNvPr>
          <p:cNvSpPr/>
          <p:nvPr/>
        </p:nvSpPr>
        <p:spPr>
          <a:xfrm>
            <a:off x="4703512" y="4839622"/>
            <a:ext cx="2529345" cy="352090"/>
          </a:xfrm>
          <a:prstGeom prst="leftRightArrow">
            <a:avLst/>
          </a:prstGeom>
          <a:solidFill>
            <a:srgbClr val="009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30" name="Graphic 2" descr="Petri Dish outline">
            <a:extLst>
              <a:ext uri="{FF2B5EF4-FFF2-40B4-BE49-F238E27FC236}">
                <a16:creationId xmlns:a16="http://schemas.microsoft.com/office/drawing/2014/main" id="{17B8B4FB-27CC-4699-8FE5-AFEF934DDC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66315" y="265990"/>
            <a:ext cx="1672013" cy="1672013"/>
          </a:xfrm>
          <a:prstGeom prst="rect">
            <a:avLst/>
          </a:prstGeom>
        </p:spPr>
      </p:pic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8C5B8F89-D595-49BC-8D7B-106DD03D3E12}"/>
              </a:ext>
            </a:extLst>
          </p:cNvPr>
          <p:cNvSpPr/>
          <p:nvPr/>
        </p:nvSpPr>
        <p:spPr>
          <a:xfrm>
            <a:off x="926293" y="4060940"/>
            <a:ext cx="864006" cy="51671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6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↓ </a:t>
            </a:r>
            <a:r>
              <a:rPr lang="it-IT" sz="1600" b="1" noProof="0" dirty="0">
                <a:solidFill>
                  <a:schemeClr val="tx2"/>
                </a:solidFill>
              </a:rPr>
              <a:t>29%</a:t>
            </a:r>
            <a:endParaRPr lang="en-GB" sz="1600" b="1" noProof="0" dirty="0" err="1">
              <a:solidFill>
                <a:schemeClr val="tx2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12B3EFB9-7A2D-498A-A7AB-0C59BA6F17DD}"/>
              </a:ext>
            </a:extLst>
          </p:cNvPr>
          <p:cNvSpPr/>
          <p:nvPr/>
        </p:nvSpPr>
        <p:spPr>
          <a:xfrm>
            <a:off x="10799545" y="4064412"/>
            <a:ext cx="881998" cy="51671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6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 </a:t>
            </a:r>
            <a:r>
              <a:rPr lang="it-IT" sz="1600" b="1" noProof="0" dirty="0">
                <a:solidFill>
                  <a:schemeClr val="tx2"/>
                </a:solidFill>
              </a:rPr>
              <a:t>33%</a:t>
            </a:r>
            <a:endParaRPr lang="en-GB" sz="1600" b="1" noProof="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8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Title 1"/>
          <p:cNvSpPr>
            <a:spLocks noGrp="1"/>
          </p:cNvSpPr>
          <p:nvPr>
            <p:ph type="title"/>
          </p:nvPr>
        </p:nvSpPr>
        <p:spPr>
          <a:xfrm>
            <a:off x="647999" y="899147"/>
            <a:ext cx="11376452" cy="521883"/>
          </a:xfrm>
        </p:spPr>
        <p:txBody>
          <a:bodyPr/>
          <a:lstStyle/>
          <a:p>
            <a:r>
              <a:rPr lang="it-IT" altLang="en-US" dirty="0"/>
              <a:t>O</a:t>
            </a:r>
            <a:r>
              <a:rPr lang="en-GB" altLang="en-US" dirty="0" err="1"/>
              <a:t>besity</a:t>
            </a:r>
            <a:r>
              <a:rPr lang="en-GB" altLang="en-US" dirty="0"/>
              <a:t> and pregnancy: </a:t>
            </a:r>
            <a:br>
              <a:rPr lang="en-GB" altLang="en-US" dirty="0"/>
            </a:br>
            <a:r>
              <a:rPr lang="en-GB" sz="2000" dirty="0">
                <a:solidFill>
                  <a:srgbClr val="3B97DE"/>
                </a:solidFill>
              </a:rPr>
              <a:t>Risk (%) of Adverse </a:t>
            </a:r>
            <a:r>
              <a:rPr lang="en-GB" sz="2000" dirty="0" err="1">
                <a:solidFill>
                  <a:srgbClr val="3B97DE"/>
                </a:solidFill>
              </a:rPr>
              <a:t>Fetal</a:t>
            </a:r>
            <a:r>
              <a:rPr lang="en-GB" sz="2000" dirty="0">
                <a:solidFill>
                  <a:srgbClr val="3B97DE"/>
                </a:solidFill>
              </a:rPr>
              <a:t> and Maternal Outcomes </a:t>
            </a:r>
            <a:r>
              <a:rPr lang="en-GB" dirty="0"/>
              <a:t>	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4C29191F-6460-47D3-892C-B187EB691EB5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BD5749AC-FAF3-4C56-9643-2BE7081D0AAE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Schummers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L et al. </a:t>
            </a: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Obstet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Gynecol. 2015; 125(1): 133-143.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F0BCCCF-D00B-482A-8F03-8CEA2319B5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49" b="129"/>
          <a:stretch/>
        </p:blipFill>
        <p:spPr>
          <a:xfrm>
            <a:off x="1677636" y="2296154"/>
            <a:ext cx="8836728" cy="3370818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5D90D294-8D86-4B09-9071-9B21134F85E4}"/>
              </a:ext>
            </a:extLst>
          </p:cNvPr>
          <p:cNvSpPr txBox="1"/>
          <p:nvPr/>
        </p:nvSpPr>
        <p:spPr>
          <a:xfrm>
            <a:off x="2838450" y="4320099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D510EA8-2F75-483D-9B3E-EBCE6D5410E8}"/>
              </a:ext>
            </a:extLst>
          </p:cNvPr>
          <p:cNvSpPr txBox="1"/>
          <p:nvPr/>
        </p:nvSpPr>
        <p:spPr>
          <a:xfrm>
            <a:off x="6799057" y="4320099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7CC9AABE-3380-4057-8FA9-FDC21556B798}"/>
              </a:ext>
            </a:extLst>
          </p:cNvPr>
          <p:cNvSpPr txBox="1"/>
          <p:nvPr/>
        </p:nvSpPr>
        <p:spPr>
          <a:xfrm>
            <a:off x="2827132" y="3673786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23E09E9-B18B-413F-8517-4E2475A56F54}"/>
              </a:ext>
            </a:extLst>
          </p:cNvPr>
          <p:cNvSpPr txBox="1"/>
          <p:nvPr/>
        </p:nvSpPr>
        <p:spPr>
          <a:xfrm>
            <a:off x="2837890" y="3996942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7F2DE47-D23E-494A-9626-CE3426BD6EE0}"/>
              </a:ext>
            </a:extLst>
          </p:cNvPr>
          <p:cNvSpPr txBox="1"/>
          <p:nvPr/>
        </p:nvSpPr>
        <p:spPr>
          <a:xfrm>
            <a:off x="6798497" y="4012322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BF6CA09-E1D9-47BE-A055-216A5CCAC9F3}"/>
              </a:ext>
            </a:extLst>
          </p:cNvPr>
          <p:cNvSpPr txBox="1"/>
          <p:nvPr/>
        </p:nvSpPr>
        <p:spPr>
          <a:xfrm>
            <a:off x="6798496" y="3689165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B66B003-3923-4F6A-8CA7-5FD8F1151482}"/>
              </a:ext>
            </a:extLst>
          </p:cNvPr>
          <p:cNvSpPr txBox="1"/>
          <p:nvPr/>
        </p:nvSpPr>
        <p:spPr>
          <a:xfrm>
            <a:off x="7854538" y="3673786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DF1C6C1-8220-4A3F-915A-7EF45A627637}"/>
              </a:ext>
            </a:extLst>
          </p:cNvPr>
          <p:cNvSpPr txBox="1"/>
          <p:nvPr/>
        </p:nvSpPr>
        <p:spPr>
          <a:xfrm>
            <a:off x="7855209" y="4010700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08C3C53-3892-4F07-A381-6C75522BDCB8}"/>
              </a:ext>
            </a:extLst>
          </p:cNvPr>
          <p:cNvSpPr txBox="1"/>
          <p:nvPr/>
        </p:nvSpPr>
        <p:spPr>
          <a:xfrm>
            <a:off x="7854538" y="4335662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07B6F66-ED6C-421C-BEB2-95C426DF0DBA}"/>
              </a:ext>
            </a:extLst>
          </p:cNvPr>
          <p:cNvSpPr txBox="1"/>
          <p:nvPr/>
        </p:nvSpPr>
        <p:spPr>
          <a:xfrm>
            <a:off x="9058105" y="3670196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BCE38143-194D-4602-96F4-869A5CB89586}"/>
              </a:ext>
            </a:extLst>
          </p:cNvPr>
          <p:cNvSpPr txBox="1"/>
          <p:nvPr/>
        </p:nvSpPr>
        <p:spPr>
          <a:xfrm>
            <a:off x="9058776" y="4007110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833889FA-E4EE-45D4-8618-918090A36EA4}"/>
              </a:ext>
            </a:extLst>
          </p:cNvPr>
          <p:cNvSpPr txBox="1"/>
          <p:nvPr/>
        </p:nvSpPr>
        <p:spPr>
          <a:xfrm>
            <a:off x="9058105" y="4332072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03352FD3-E7E9-408C-9F60-C3CED112AD2E}"/>
              </a:ext>
            </a:extLst>
          </p:cNvPr>
          <p:cNvSpPr txBox="1"/>
          <p:nvPr/>
        </p:nvSpPr>
        <p:spPr>
          <a:xfrm>
            <a:off x="9893447" y="3670196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D7198857-F27F-4364-A827-3AB3C7CC3553}"/>
              </a:ext>
            </a:extLst>
          </p:cNvPr>
          <p:cNvSpPr txBox="1"/>
          <p:nvPr/>
        </p:nvSpPr>
        <p:spPr>
          <a:xfrm>
            <a:off x="9894118" y="4007110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9A41A0FC-A88A-4E2A-996E-41ADB5D0D52D}"/>
              </a:ext>
            </a:extLst>
          </p:cNvPr>
          <p:cNvSpPr txBox="1"/>
          <p:nvPr/>
        </p:nvSpPr>
        <p:spPr>
          <a:xfrm>
            <a:off x="9893447" y="4332072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80FDA219-D55B-4A49-B87A-7C536C84604F}"/>
              </a:ext>
            </a:extLst>
          </p:cNvPr>
          <p:cNvSpPr txBox="1"/>
          <p:nvPr/>
        </p:nvSpPr>
        <p:spPr>
          <a:xfrm>
            <a:off x="5447124" y="3670196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ACDF63BA-A5A5-4802-9B2E-854593647824}"/>
              </a:ext>
            </a:extLst>
          </p:cNvPr>
          <p:cNvSpPr txBox="1"/>
          <p:nvPr/>
        </p:nvSpPr>
        <p:spPr>
          <a:xfrm>
            <a:off x="5447795" y="4007110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89DE7D2B-6B0B-49B6-82A0-5502753CF0C9}"/>
              </a:ext>
            </a:extLst>
          </p:cNvPr>
          <p:cNvSpPr txBox="1"/>
          <p:nvPr/>
        </p:nvSpPr>
        <p:spPr>
          <a:xfrm>
            <a:off x="3831515" y="3658223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DCD63EB-0A76-4BC8-89F3-EB4C382A7D13}"/>
              </a:ext>
            </a:extLst>
          </p:cNvPr>
          <p:cNvSpPr txBox="1"/>
          <p:nvPr/>
        </p:nvSpPr>
        <p:spPr>
          <a:xfrm>
            <a:off x="3832186" y="3995137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8C0FD9EC-F28F-44D1-9B5D-774A4FE69ACA}"/>
              </a:ext>
            </a:extLst>
          </p:cNvPr>
          <p:cNvSpPr txBox="1"/>
          <p:nvPr/>
        </p:nvSpPr>
        <p:spPr>
          <a:xfrm>
            <a:off x="3831515" y="4320099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0C1E4D66-DABC-47A4-B7D9-EA468C2090CC}"/>
              </a:ext>
            </a:extLst>
          </p:cNvPr>
          <p:cNvSpPr txBox="1"/>
          <p:nvPr/>
        </p:nvSpPr>
        <p:spPr>
          <a:xfrm>
            <a:off x="4662934" y="3668981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78F5E28-D44D-43A0-B4D2-C86D1ED492A1}"/>
              </a:ext>
            </a:extLst>
          </p:cNvPr>
          <p:cNvSpPr txBox="1"/>
          <p:nvPr/>
        </p:nvSpPr>
        <p:spPr>
          <a:xfrm>
            <a:off x="4662934" y="4330857"/>
            <a:ext cx="504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noProof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22207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B7B83B-ADCE-4D44-8955-F1C86C99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860889"/>
            <a:ext cx="11347200" cy="521883"/>
          </a:xfrm>
        </p:spPr>
        <p:txBody>
          <a:bodyPr/>
          <a:lstStyle/>
          <a:p>
            <a:r>
              <a:rPr lang="en-GB" dirty="0"/>
              <a:t>Weight loss improves clinical features and long-term metabolic health in women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97CB937-F7AD-4EE5-AC87-2951F412D5E6}"/>
              </a:ext>
            </a:extLst>
          </p:cNvPr>
          <p:cNvSpPr>
            <a:spLocks/>
          </p:cNvSpPr>
          <p:nvPr/>
        </p:nvSpPr>
        <p:spPr>
          <a:xfrm>
            <a:off x="1846593" y="1843104"/>
            <a:ext cx="2802052" cy="1869425"/>
          </a:xfrm>
          <a:prstGeom prst="roundRect">
            <a:avLst>
              <a:gd name="adj" fmla="val 6260"/>
            </a:avLst>
          </a:prstGeom>
          <a:solidFill>
            <a:srgbClr val="009FD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105" tIns="146105" rIns="146105" bIns="146105" numCol="1" spcCol="1270" anchor="ctr" anchorCtr="0">
            <a:noAutofit/>
          </a:bodyPr>
          <a:lstStyle/>
          <a:p>
            <a:pPr algn="r" defTabSz="130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133" dirty="0">
              <a:solidFill>
                <a:srgbClr val="FFFFFF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92E87E3-89B4-4048-924C-10D504F23E55}"/>
              </a:ext>
            </a:extLst>
          </p:cNvPr>
          <p:cNvSpPr txBox="1"/>
          <p:nvPr/>
        </p:nvSpPr>
        <p:spPr>
          <a:xfrm>
            <a:off x="2916347" y="2490558"/>
            <a:ext cx="1645183" cy="5745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867" dirty="0">
                <a:solidFill>
                  <a:schemeClr val="bg1"/>
                </a:solidFill>
              </a:rPr>
              <a:t>Insulin levels lowered</a:t>
            </a:r>
            <a:r>
              <a:rPr lang="en-GB" sz="1867" baseline="30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111A44F-513E-4E29-97B7-2AED8448FDFE}"/>
              </a:ext>
            </a:extLst>
          </p:cNvPr>
          <p:cNvSpPr>
            <a:spLocks/>
          </p:cNvSpPr>
          <p:nvPr/>
        </p:nvSpPr>
        <p:spPr>
          <a:xfrm>
            <a:off x="4694975" y="1843104"/>
            <a:ext cx="2802052" cy="1869425"/>
          </a:xfrm>
          <a:prstGeom prst="roundRect">
            <a:avLst>
              <a:gd name="adj" fmla="val 6260"/>
            </a:avLst>
          </a:prstGeom>
          <a:solidFill>
            <a:srgbClr val="009FD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105" tIns="146105" rIns="146105" bIns="146105" numCol="1" spcCol="1270" anchor="ctr" anchorCtr="0">
            <a:noAutofit/>
          </a:bodyPr>
          <a:lstStyle/>
          <a:p>
            <a:pPr algn="r" defTabSz="130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133" dirty="0">
              <a:solidFill>
                <a:srgbClr val="FFFFFF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3D54616-3B10-4AC1-9A7F-54A22543053E}"/>
              </a:ext>
            </a:extLst>
          </p:cNvPr>
          <p:cNvSpPr txBox="1"/>
          <p:nvPr/>
        </p:nvSpPr>
        <p:spPr>
          <a:xfrm>
            <a:off x="5985720" y="2490558"/>
            <a:ext cx="1424192" cy="5745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867" dirty="0">
                <a:solidFill>
                  <a:schemeClr val="bg1"/>
                </a:solidFill>
              </a:rPr>
              <a:t>Decreased insulin resistance</a:t>
            </a:r>
            <a:r>
              <a:rPr lang="en-GB" sz="1867" baseline="30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8B1BEC4-6B51-48F0-9CA2-CBA50D1E642F}"/>
              </a:ext>
            </a:extLst>
          </p:cNvPr>
          <p:cNvSpPr>
            <a:spLocks/>
          </p:cNvSpPr>
          <p:nvPr/>
        </p:nvSpPr>
        <p:spPr>
          <a:xfrm>
            <a:off x="7543358" y="1843104"/>
            <a:ext cx="2802052" cy="1869425"/>
          </a:xfrm>
          <a:prstGeom prst="roundRect">
            <a:avLst>
              <a:gd name="adj" fmla="val 6260"/>
            </a:avLst>
          </a:prstGeom>
          <a:solidFill>
            <a:srgbClr val="009FD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105" tIns="146105" rIns="146105" bIns="146105" numCol="1" spcCol="1270" anchor="ctr" anchorCtr="0">
            <a:noAutofit/>
          </a:bodyPr>
          <a:lstStyle/>
          <a:p>
            <a:pPr algn="r" defTabSz="130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133" dirty="0">
              <a:solidFill>
                <a:srgbClr val="FFFFFF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C94E0CB-AA4C-4322-A7AD-F579F6B81FE1}"/>
              </a:ext>
            </a:extLst>
          </p:cNvPr>
          <p:cNvSpPr txBox="1"/>
          <p:nvPr/>
        </p:nvSpPr>
        <p:spPr>
          <a:xfrm>
            <a:off x="8834103" y="2490558"/>
            <a:ext cx="1645183" cy="5745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867" dirty="0">
                <a:solidFill>
                  <a:schemeClr val="bg1"/>
                </a:solidFill>
              </a:rPr>
              <a:t>Decreased androgen levels</a:t>
            </a:r>
            <a:r>
              <a:rPr lang="en-GB" sz="1867" baseline="30000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06FAA78-AFA1-41D2-A1DC-445D91C90063}"/>
              </a:ext>
            </a:extLst>
          </p:cNvPr>
          <p:cNvGrpSpPr>
            <a:grpSpLocks/>
          </p:cNvGrpSpPr>
          <p:nvPr/>
        </p:nvGrpSpPr>
        <p:grpSpPr>
          <a:xfrm>
            <a:off x="422401" y="3819533"/>
            <a:ext cx="2802052" cy="1916636"/>
            <a:chOff x="316800" y="2882512"/>
            <a:chExt cx="2101539" cy="1542276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C7B04D3-7193-4BBB-8C35-86C1610DA5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6800" y="2882512"/>
              <a:ext cx="2101539" cy="1542276"/>
            </a:xfrm>
            <a:prstGeom prst="roundRect">
              <a:avLst>
                <a:gd name="adj" fmla="val 6260"/>
              </a:avLst>
            </a:prstGeom>
            <a:solidFill>
              <a:srgbClr val="009FD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6105" tIns="146105" rIns="146105" bIns="146105" numCol="1" spcCol="1270" anchor="ctr" anchorCtr="0">
              <a:noAutofit/>
            </a:bodyPr>
            <a:lstStyle/>
            <a:p>
              <a:pPr algn="r" defTabSz="130380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133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D918105-911D-405A-BF5E-5DD9FEDFB85F}"/>
                </a:ext>
              </a:extLst>
            </p:cNvPr>
            <p:cNvSpPr txBox="1"/>
            <p:nvPr/>
          </p:nvSpPr>
          <p:spPr>
            <a:xfrm>
              <a:off x="1119116" y="3438207"/>
              <a:ext cx="1233887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867" dirty="0">
                  <a:solidFill>
                    <a:schemeClr val="bg1"/>
                  </a:solidFill>
                </a:rPr>
                <a:t>Menstrual cyclicity, ovulation and fertility improved</a:t>
              </a:r>
              <a:r>
                <a:rPr lang="en-GB" sz="1867" baseline="30000" dirty="0">
                  <a:solidFill>
                    <a:schemeClr val="bg1"/>
                  </a:solidFill>
                </a:rPr>
                <a:t>2</a:t>
              </a: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F4D7CD3-D871-4768-A20C-4F0D5D2D1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5958" y="3450583"/>
              <a:ext cx="519614" cy="406134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CDBD0F6-3230-4847-8A87-CB9820FD8351}"/>
              </a:ext>
            </a:extLst>
          </p:cNvPr>
          <p:cNvGrpSpPr/>
          <p:nvPr/>
        </p:nvGrpSpPr>
        <p:grpSpPr>
          <a:xfrm rot="3602091">
            <a:off x="1958702" y="2496428"/>
            <a:ext cx="565469" cy="562776"/>
            <a:chOff x="6710363" y="3908426"/>
            <a:chExt cx="333376" cy="331787"/>
          </a:xfrm>
          <a:solidFill>
            <a:schemeClr val="bg1"/>
          </a:solidFill>
        </p:grpSpPr>
        <p:sp>
          <p:nvSpPr>
            <p:cNvPr id="28" name="Freeform 4">
              <a:extLst>
                <a:ext uri="{FF2B5EF4-FFF2-40B4-BE49-F238E27FC236}">
                  <a16:creationId xmlns:a16="http://schemas.microsoft.com/office/drawing/2014/main" id="{B9C34668-305C-4249-9DF0-01B6703B59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6238" y="3924301"/>
              <a:ext cx="85725" cy="84138"/>
            </a:xfrm>
            <a:custGeom>
              <a:avLst/>
              <a:gdLst>
                <a:gd name="T0" fmla="*/ 53 w 55"/>
                <a:gd name="T1" fmla="*/ 17 h 54"/>
                <a:gd name="T2" fmla="*/ 38 w 55"/>
                <a:gd name="T3" fmla="*/ 2 h 54"/>
                <a:gd name="T4" fmla="*/ 38 w 55"/>
                <a:gd name="T5" fmla="*/ 2 h 54"/>
                <a:gd name="T6" fmla="*/ 31 w 55"/>
                <a:gd name="T7" fmla="*/ 2 h 54"/>
                <a:gd name="T8" fmla="*/ 2 w 55"/>
                <a:gd name="T9" fmla="*/ 30 h 54"/>
                <a:gd name="T10" fmla="*/ 2 w 55"/>
                <a:gd name="T11" fmla="*/ 37 h 54"/>
                <a:gd name="T12" fmla="*/ 18 w 55"/>
                <a:gd name="T13" fmla="*/ 52 h 54"/>
                <a:gd name="T14" fmla="*/ 18 w 55"/>
                <a:gd name="T15" fmla="*/ 52 h 54"/>
                <a:gd name="T16" fmla="*/ 24 w 55"/>
                <a:gd name="T17" fmla="*/ 52 h 54"/>
                <a:gd name="T18" fmla="*/ 53 w 55"/>
                <a:gd name="T19" fmla="*/ 24 h 54"/>
                <a:gd name="T20" fmla="*/ 53 w 55"/>
                <a:gd name="T21" fmla="*/ 17 h 54"/>
                <a:gd name="T22" fmla="*/ 27 w 55"/>
                <a:gd name="T23" fmla="*/ 42 h 54"/>
                <a:gd name="T24" fmla="*/ 21 w 55"/>
                <a:gd name="T25" fmla="*/ 42 h 54"/>
                <a:gd name="T26" fmla="*/ 13 w 55"/>
                <a:gd name="T27" fmla="*/ 34 h 54"/>
                <a:gd name="T28" fmla="*/ 13 w 55"/>
                <a:gd name="T29" fmla="*/ 28 h 54"/>
                <a:gd name="T30" fmla="*/ 19 w 55"/>
                <a:gd name="T31" fmla="*/ 28 h 54"/>
                <a:gd name="T32" fmla="*/ 27 w 55"/>
                <a:gd name="T33" fmla="*/ 36 h 54"/>
                <a:gd name="T34" fmla="*/ 27 w 55"/>
                <a:gd name="T35" fmla="*/ 42 h 54"/>
                <a:gd name="T36" fmla="*/ 43 w 55"/>
                <a:gd name="T37" fmla="*/ 27 h 54"/>
                <a:gd name="T38" fmla="*/ 37 w 55"/>
                <a:gd name="T39" fmla="*/ 27 h 54"/>
                <a:gd name="T40" fmla="*/ 29 w 55"/>
                <a:gd name="T41" fmla="*/ 19 h 54"/>
                <a:gd name="T42" fmla="*/ 29 w 55"/>
                <a:gd name="T43" fmla="*/ 12 h 54"/>
                <a:gd name="T44" fmla="*/ 35 w 55"/>
                <a:gd name="T45" fmla="*/ 12 h 54"/>
                <a:gd name="T46" fmla="*/ 43 w 55"/>
                <a:gd name="T47" fmla="*/ 20 h 54"/>
                <a:gd name="T48" fmla="*/ 43 w 55"/>
                <a:gd name="T49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" h="54">
                  <a:moveTo>
                    <a:pt x="53" y="17"/>
                  </a:move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6" y="0"/>
                    <a:pt x="33" y="0"/>
                    <a:pt x="31" y="2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2"/>
                    <a:pt x="0" y="35"/>
                    <a:pt x="2" y="37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9" y="54"/>
                    <a:pt x="22" y="54"/>
                    <a:pt x="24" y="52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5" y="22"/>
                    <a:pt x="55" y="19"/>
                    <a:pt x="53" y="17"/>
                  </a:cubicBezTo>
                  <a:moveTo>
                    <a:pt x="27" y="42"/>
                  </a:moveTo>
                  <a:cubicBezTo>
                    <a:pt x="25" y="44"/>
                    <a:pt x="23" y="44"/>
                    <a:pt x="21" y="42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1" y="32"/>
                    <a:pt x="11" y="30"/>
                    <a:pt x="13" y="28"/>
                  </a:cubicBezTo>
                  <a:cubicBezTo>
                    <a:pt x="15" y="26"/>
                    <a:pt x="18" y="26"/>
                    <a:pt x="19" y="2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8"/>
                    <a:pt x="29" y="40"/>
                    <a:pt x="27" y="42"/>
                  </a:cubicBezTo>
                  <a:moveTo>
                    <a:pt x="43" y="27"/>
                  </a:moveTo>
                  <a:cubicBezTo>
                    <a:pt x="41" y="28"/>
                    <a:pt x="38" y="28"/>
                    <a:pt x="37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7" y="17"/>
                    <a:pt x="27" y="14"/>
                    <a:pt x="29" y="12"/>
                  </a:cubicBezTo>
                  <a:cubicBezTo>
                    <a:pt x="30" y="11"/>
                    <a:pt x="33" y="11"/>
                    <a:pt x="35" y="12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5" y="22"/>
                    <a:pt x="45" y="25"/>
                    <a:pt x="43" y="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B59CC9C9-3D64-4C71-BFD4-959351C63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363" y="3908426"/>
              <a:ext cx="49213" cy="49213"/>
            </a:xfrm>
            <a:custGeom>
              <a:avLst/>
              <a:gdLst>
                <a:gd name="T0" fmla="*/ 2 w 31"/>
                <a:gd name="T1" fmla="*/ 21 h 31"/>
                <a:gd name="T2" fmla="*/ 2 w 31"/>
                <a:gd name="T3" fmla="*/ 21 h 31"/>
                <a:gd name="T4" fmla="*/ 22 w 31"/>
                <a:gd name="T5" fmla="*/ 2 h 31"/>
                <a:gd name="T6" fmla="*/ 29 w 31"/>
                <a:gd name="T7" fmla="*/ 2 h 31"/>
                <a:gd name="T8" fmla="*/ 29 w 31"/>
                <a:gd name="T9" fmla="*/ 9 h 31"/>
                <a:gd name="T10" fmla="*/ 10 w 31"/>
                <a:gd name="T11" fmla="*/ 29 h 31"/>
                <a:gd name="T12" fmla="*/ 2 w 31"/>
                <a:gd name="T13" fmla="*/ 29 h 31"/>
                <a:gd name="T14" fmla="*/ 2 w 31"/>
                <a:gd name="T15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2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4" y="0"/>
                    <a:pt x="27" y="0"/>
                    <a:pt x="29" y="2"/>
                  </a:cubicBezTo>
                  <a:cubicBezTo>
                    <a:pt x="31" y="4"/>
                    <a:pt x="31" y="7"/>
                    <a:pt x="29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8" y="31"/>
                    <a:pt x="4" y="30"/>
                    <a:pt x="2" y="29"/>
                  </a:cubicBezTo>
                  <a:cubicBezTo>
                    <a:pt x="1" y="27"/>
                    <a:pt x="0" y="23"/>
                    <a:pt x="2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A74BB1E5-1B64-4776-AFEC-B4A0E83611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2276" y="3970338"/>
              <a:ext cx="271463" cy="269875"/>
            </a:xfrm>
            <a:custGeom>
              <a:avLst/>
              <a:gdLst>
                <a:gd name="T0" fmla="*/ 172 w 175"/>
                <a:gd name="T1" fmla="*/ 164 h 174"/>
                <a:gd name="T2" fmla="*/ 156 w 175"/>
                <a:gd name="T3" fmla="*/ 147 h 174"/>
                <a:gd name="T4" fmla="*/ 151 w 175"/>
                <a:gd name="T5" fmla="*/ 115 h 174"/>
                <a:gd name="T6" fmla="*/ 38 w 175"/>
                <a:gd name="T7" fmla="*/ 2 h 174"/>
                <a:gd name="T8" fmla="*/ 31 w 175"/>
                <a:gd name="T9" fmla="*/ 2 h 174"/>
                <a:gd name="T10" fmla="*/ 3 w 175"/>
                <a:gd name="T11" fmla="*/ 31 h 174"/>
                <a:gd name="T12" fmla="*/ 3 w 175"/>
                <a:gd name="T13" fmla="*/ 37 h 174"/>
                <a:gd name="T14" fmla="*/ 116 w 175"/>
                <a:gd name="T15" fmla="*/ 151 h 174"/>
                <a:gd name="T16" fmla="*/ 147 w 175"/>
                <a:gd name="T17" fmla="*/ 155 h 174"/>
                <a:gd name="T18" fmla="*/ 164 w 175"/>
                <a:gd name="T19" fmla="*/ 172 h 174"/>
                <a:gd name="T20" fmla="*/ 172 w 175"/>
                <a:gd name="T21" fmla="*/ 172 h 174"/>
                <a:gd name="T22" fmla="*/ 172 w 175"/>
                <a:gd name="T23" fmla="*/ 164 h 174"/>
                <a:gd name="T24" fmla="*/ 55 w 175"/>
                <a:gd name="T25" fmla="*/ 34 h 174"/>
                <a:gd name="T26" fmla="*/ 43 w 175"/>
                <a:gd name="T27" fmla="*/ 58 h 174"/>
                <a:gd name="T28" fmla="*/ 36 w 175"/>
                <a:gd name="T29" fmla="*/ 59 h 174"/>
                <a:gd name="T30" fmla="*/ 21 w 175"/>
                <a:gd name="T31" fmla="*/ 45 h 174"/>
                <a:gd name="T32" fmla="*/ 20 w 175"/>
                <a:gd name="T33" fmla="*/ 40 h 174"/>
                <a:gd name="T34" fmla="*/ 32 w 175"/>
                <a:gd name="T35" fmla="*/ 16 h 174"/>
                <a:gd name="T36" fmla="*/ 39 w 175"/>
                <a:gd name="T37" fmla="*/ 14 h 174"/>
                <a:gd name="T38" fmla="*/ 54 w 175"/>
                <a:gd name="T39" fmla="*/ 29 h 174"/>
                <a:gd name="T40" fmla="*/ 55 w 175"/>
                <a:gd name="T41" fmla="*/ 3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5" h="174">
                  <a:moveTo>
                    <a:pt x="172" y="164"/>
                  </a:moveTo>
                  <a:cubicBezTo>
                    <a:pt x="156" y="147"/>
                    <a:pt x="156" y="147"/>
                    <a:pt x="156" y="147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6" y="0"/>
                    <a:pt x="33" y="0"/>
                    <a:pt x="31" y="2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3"/>
                    <a:pt x="1" y="36"/>
                    <a:pt x="3" y="37"/>
                  </a:cubicBezTo>
                  <a:cubicBezTo>
                    <a:pt x="116" y="151"/>
                    <a:pt x="116" y="151"/>
                    <a:pt x="116" y="151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64" y="172"/>
                    <a:pt x="164" y="172"/>
                    <a:pt x="164" y="172"/>
                  </a:cubicBezTo>
                  <a:cubicBezTo>
                    <a:pt x="166" y="174"/>
                    <a:pt x="170" y="174"/>
                    <a:pt x="172" y="172"/>
                  </a:cubicBezTo>
                  <a:cubicBezTo>
                    <a:pt x="175" y="170"/>
                    <a:pt x="175" y="166"/>
                    <a:pt x="172" y="164"/>
                  </a:cubicBezTo>
                  <a:moveTo>
                    <a:pt x="55" y="34"/>
                  </a:moveTo>
                  <a:cubicBezTo>
                    <a:pt x="43" y="58"/>
                    <a:pt x="43" y="58"/>
                    <a:pt x="43" y="58"/>
                  </a:cubicBezTo>
                  <a:cubicBezTo>
                    <a:pt x="41" y="61"/>
                    <a:pt x="38" y="61"/>
                    <a:pt x="36" y="59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3"/>
                    <a:pt x="19" y="41"/>
                    <a:pt x="20" y="4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3"/>
                    <a:pt x="37" y="12"/>
                    <a:pt x="39" y="14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6" y="32"/>
                    <a:pt x="55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87A90285-7BDF-4C76-B8EE-D4AF01C932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85084" y="2494417"/>
            <a:ext cx="696061" cy="56679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02DE2CC-4E1D-4505-88ED-F1575D208F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8644" y="2388773"/>
            <a:ext cx="1137053" cy="734873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52D385AF-534D-4BFD-8AD6-E37A6143FFD6}"/>
              </a:ext>
            </a:extLst>
          </p:cNvPr>
          <p:cNvGrpSpPr>
            <a:grpSpLocks/>
          </p:cNvGrpSpPr>
          <p:nvPr/>
        </p:nvGrpSpPr>
        <p:grpSpPr>
          <a:xfrm>
            <a:off x="6119166" y="3819533"/>
            <a:ext cx="2802052" cy="1916636"/>
            <a:chOff x="2435713" y="2882512"/>
            <a:chExt cx="2101539" cy="1542276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34FF9C8-752F-46FC-A8E8-9EBC3C3691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35713" y="2882512"/>
              <a:ext cx="2101539" cy="1542276"/>
            </a:xfrm>
            <a:prstGeom prst="roundRect">
              <a:avLst>
                <a:gd name="adj" fmla="val 6260"/>
              </a:avLst>
            </a:prstGeom>
            <a:solidFill>
              <a:srgbClr val="009FD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6105" tIns="146105" rIns="146105" bIns="146105" numCol="1" spcCol="1270" anchor="ctr" anchorCtr="0">
              <a:noAutofit/>
            </a:bodyPr>
            <a:lstStyle/>
            <a:p>
              <a:pPr algn="r" defTabSz="130380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133" dirty="0">
                <a:solidFill>
                  <a:srgbClr val="FFFFFF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13EE5D4-4E6F-4B37-801F-41372CF2B177}"/>
                </a:ext>
              </a:extLst>
            </p:cNvPr>
            <p:cNvSpPr txBox="1"/>
            <p:nvPr/>
          </p:nvSpPr>
          <p:spPr>
            <a:xfrm>
              <a:off x="3255403" y="3438207"/>
              <a:ext cx="1233887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867" dirty="0">
                  <a:solidFill>
                    <a:schemeClr val="bg1"/>
                  </a:solidFill>
                </a:rPr>
                <a:t>Risk factors for CVD  and T2D reduced</a:t>
              </a:r>
              <a:r>
                <a:rPr lang="en-GB" sz="1867" baseline="30000" dirty="0">
                  <a:solidFill>
                    <a:schemeClr val="bg1"/>
                  </a:solidFill>
                </a:rPr>
                <a:t>5</a:t>
              </a:r>
              <a:r>
                <a:rPr lang="en-GB" sz="1867" dirty="0">
                  <a:solidFill>
                    <a:schemeClr val="bg1"/>
                  </a:solidFill>
                </a:rPr>
                <a:t> </a:t>
              </a: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BBF5E966-CA53-41AF-9770-B9CADE283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613599" y="3344250"/>
              <a:ext cx="453788" cy="6188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D4BDDB1-9825-4A07-8FE8-C2EF0C0C293E}"/>
              </a:ext>
            </a:extLst>
          </p:cNvPr>
          <p:cNvGrpSpPr>
            <a:grpSpLocks/>
          </p:cNvGrpSpPr>
          <p:nvPr/>
        </p:nvGrpSpPr>
        <p:grpSpPr>
          <a:xfrm>
            <a:off x="3270783" y="3819533"/>
            <a:ext cx="2802052" cy="1916636"/>
            <a:chOff x="4589374" y="2882512"/>
            <a:chExt cx="2101539" cy="1542276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CC17EFE-ECB5-4A35-A0B5-3ABA632F1E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89374" y="2882512"/>
              <a:ext cx="2101539" cy="1542276"/>
            </a:xfrm>
            <a:prstGeom prst="roundRect">
              <a:avLst>
                <a:gd name="adj" fmla="val 6260"/>
              </a:avLst>
            </a:prstGeom>
            <a:solidFill>
              <a:srgbClr val="009FD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6105" tIns="146105" rIns="146105" bIns="146105" numCol="1" spcCol="1270" anchor="ctr" anchorCtr="0">
              <a:noAutofit/>
            </a:bodyPr>
            <a:lstStyle/>
            <a:p>
              <a:pPr algn="r" defTabSz="130380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133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4DFE610-1BF8-47F4-B74E-F7C90AE62A94}"/>
                </a:ext>
              </a:extLst>
            </p:cNvPr>
            <p:cNvSpPr txBox="1"/>
            <p:nvPr/>
          </p:nvSpPr>
          <p:spPr>
            <a:xfrm>
              <a:off x="5391690" y="3438207"/>
              <a:ext cx="1233887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867" dirty="0">
                  <a:solidFill>
                    <a:schemeClr val="bg1"/>
                  </a:solidFill>
                </a:rPr>
                <a:t>Improved psychological outcome</a:t>
              </a:r>
              <a:r>
                <a:rPr lang="en-GB" sz="1867" baseline="30000" dirty="0">
                  <a:solidFill>
                    <a:schemeClr val="bg1"/>
                  </a:solidFill>
                </a:rPr>
                <a:t>3,4</a:t>
              </a: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16DF8C2A-3861-44CB-A553-63EF583B8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777200" y="3394863"/>
              <a:ext cx="448850" cy="517574"/>
            </a:xfrm>
            <a:prstGeom prst="rect">
              <a:avLst/>
            </a:prstGeom>
          </p:spPr>
        </p:pic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B893AD4-A3B1-4E2E-A52D-27207C5817C1}"/>
              </a:ext>
            </a:extLst>
          </p:cNvPr>
          <p:cNvSpPr>
            <a:spLocks/>
          </p:cNvSpPr>
          <p:nvPr/>
        </p:nvSpPr>
        <p:spPr>
          <a:xfrm>
            <a:off x="8967549" y="3819533"/>
            <a:ext cx="2802052" cy="1916636"/>
          </a:xfrm>
          <a:prstGeom prst="roundRect">
            <a:avLst>
              <a:gd name="adj" fmla="val 6260"/>
            </a:avLst>
          </a:prstGeom>
          <a:solidFill>
            <a:srgbClr val="009FD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105" tIns="146105" rIns="146105" bIns="146105" numCol="1" spcCol="1270" anchor="ctr" anchorCtr="0">
            <a:noAutofit/>
          </a:bodyPr>
          <a:lstStyle/>
          <a:p>
            <a:pPr algn="r" defTabSz="130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133" dirty="0">
              <a:solidFill>
                <a:srgbClr val="FFFFFF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F0767A-BA61-4A03-80D8-66686778A99C}"/>
              </a:ext>
            </a:extLst>
          </p:cNvPr>
          <p:cNvSpPr txBox="1"/>
          <p:nvPr/>
        </p:nvSpPr>
        <p:spPr>
          <a:xfrm>
            <a:off x="10037303" y="4420729"/>
            <a:ext cx="1645183" cy="5745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867" dirty="0">
                <a:solidFill>
                  <a:schemeClr val="bg1"/>
                </a:solidFill>
              </a:rPr>
              <a:t>Reduction of hirsutism, acne and skin affection</a:t>
            </a:r>
            <a:r>
              <a:rPr lang="en-GB" sz="1867" baseline="300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83804F-4A77-47AB-95EC-1E9EC26BEC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90008" y="4243236"/>
            <a:ext cx="707784" cy="929499"/>
          </a:xfrm>
          <a:prstGeom prst="rect">
            <a:avLst/>
          </a:prstGeom>
        </p:spPr>
      </p:pic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D9A8148D-6B8C-4C4F-9806-A2DA1A82D922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3</a:t>
            </a:fld>
            <a:endParaRPr lang="en-GB" sz="700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92752961-B566-4CFF-A9D7-5F75F93D46E7}"/>
              </a:ext>
            </a:extLst>
          </p:cNvPr>
          <p:cNvSpPr txBox="1">
            <a:spLocks/>
          </p:cNvSpPr>
          <p:nvPr/>
        </p:nvSpPr>
        <p:spPr>
          <a:xfrm>
            <a:off x="647999" y="6245819"/>
            <a:ext cx="10899337" cy="21544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i="1" dirty="0">
                <a:cs typeface="Arial" panose="020B0604020202020204" pitchFamily="34" charset="0"/>
              </a:rPr>
              <a:t>CVD, cardiovascular disease; T2D, type to diabetes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05CB186E-D5E4-4C44-955E-254529DC3150}"/>
              </a:ext>
            </a:extLst>
          </p:cNvPr>
          <p:cNvSpPr/>
          <p:nvPr/>
        </p:nvSpPr>
        <p:spPr>
          <a:xfrm>
            <a:off x="200974" y="6506374"/>
            <a:ext cx="115694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. 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olino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</a:t>
            </a:r>
            <a:r>
              <a:rPr lang="nn-NO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ur J Obstet Gynecol Reprod Biol. 2005;119(1):87-93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; 2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anidis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ert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er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08; 89(4): 899-906; 3. 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kras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J Clin Endocrinol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etab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6; 101(8): 2966-2974; 4. Thomson et al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ert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er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0; 94(5): 1812-1816; </a:t>
            </a:r>
          </a:p>
          <a:p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5. Wild et al. J Clin Endocrinol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etab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0; 95(5): 2038-2049; 6. </a:t>
            </a:r>
            <a:r>
              <a:rPr lang="pt-B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ariam</a:t>
            </a:r>
            <a:r>
              <a:rPr lang="pt-B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A et al. Diabetes </a:t>
            </a:r>
            <a:r>
              <a:rPr lang="pt-B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pt-B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pt-B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etab</a:t>
            </a:r>
            <a:r>
              <a:rPr lang="pt-B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23(12):2804-2813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0" name="TextBox 51">
            <a:extLst>
              <a:ext uri="{FF2B5EF4-FFF2-40B4-BE49-F238E27FC236}">
                <a16:creationId xmlns:a16="http://schemas.microsoft.com/office/drawing/2014/main" id="{CBCF71CD-1184-4708-BA52-8D11ED570152}"/>
              </a:ext>
            </a:extLst>
          </p:cNvPr>
          <p:cNvSpPr txBox="1"/>
          <p:nvPr/>
        </p:nvSpPr>
        <p:spPr>
          <a:xfrm>
            <a:off x="10577786" y="1220234"/>
            <a:ext cx="1417414" cy="1168539"/>
          </a:xfrm>
          <a:prstGeom prst="ellipse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WL</a:t>
            </a:r>
            <a:r>
              <a:rPr kumimoji="0" lang="en-GB" sz="24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6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≥ 5%</a:t>
            </a:r>
          </a:p>
        </p:txBody>
      </p:sp>
    </p:spTree>
    <p:extLst>
      <p:ext uri="{BB962C8B-B14F-4D97-AF65-F5344CB8AC3E}">
        <p14:creationId xmlns:p14="http://schemas.microsoft.com/office/powerpoint/2010/main" val="374833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ttangolo 79">
            <a:extLst>
              <a:ext uri="{FF2B5EF4-FFF2-40B4-BE49-F238E27FC236}">
                <a16:creationId xmlns:a16="http://schemas.microsoft.com/office/drawing/2014/main" id="{A38E88E7-B80D-4D85-ADE6-90658B54ADAE}"/>
              </a:ext>
            </a:extLst>
          </p:cNvPr>
          <p:cNvSpPr/>
          <p:nvPr/>
        </p:nvSpPr>
        <p:spPr>
          <a:xfrm>
            <a:off x="261258" y="6591700"/>
            <a:ext cx="11669485" cy="217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273">
              <a:lnSpc>
                <a:spcPct val="107000"/>
              </a:lnSpc>
              <a:defRPr/>
            </a:pP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ariam A et al. Diabetes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etab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23(12):2804-2813</a:t>
            </a:r>
          </a:p>
        </p:txBody>
      </p:sp>
      <p:sp>
        <p:nvSpPr>
          <p:cNvPr id="81" name="Segnaposto numero diapositiva 5">
            <a:extLst>
              <a:ext uri="{FF2B5EF4-FFF2-40B4-BE49-F238E27FC236}">
                <a16:creationId xmlns:a16="http://schemas.microsoft.com/office/drawing/2014/main" id="{C736C3F0-9B04-4363-9A7B-5E4B8C98B4DA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4</a:t>
            </a:fld>
            <a:endParaRPr lang="en-GB" sz="700" dirty="0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4652E757-33B3-4F6D-BF0F-BF9EE0935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Weight </a:t>
            </a:r>
            <a:r>
              <a:rPr lang="it-IT" dirty="0" err="1"/>
              <a:t>loss</a:t>
            </a:r>
            <a:r>
              <a:rPr lang="it-IT" dirty="0"/>
              <a:t> benefit on </a:t>
            </a:r>
            <a:r>
              <a:rPr lang="it-IT" dirty="0" err="1"/>
              <a:t>female</a:t>
            </a:r>
            <a:r>
              <a:rPr lang="it-IT" dirty="0"/>
              <a:t> </a:t>
            </a:r>
            <a:r>
              <a:rPr lang="it-IT" dirty="0" err="1"/>
              <a:t>fertility</a:t>
            </a:r>
            <a:endParaRPr lang="en-GB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B0A2DBC5-8024-46BE-A5E8-BEAB238AF3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31" b="-76"/>
          <a:stretch/>
        </p:blipFill>
        <p:spPr>
          <a:xfrm>
            <a:off x="261258" y="1569382"/>
            <a:ext cx="5404230" cy="1676491"/>
          </a:xfrm>
          <a:prstGeom prst="rect">
            <a:avLst/>
          </a:prstGeom>
        </p:spPr>
      </p:pic>
      <p:grpSp>
        <p:nvGrpSpPr>
          <p:cNvPr id="92" name="Group 3">
            <a:extLst>
              <a:ext uri="{FF2B5EF4-FFF2-40B4-BE49-F238E27FC236}">
                <a16:creationId xmlns:a16="http://schemas.microsoft.com/office/drawing/2014/main" id="{7F9B802D-B06D-4986-8F53-C062FFA93852}"/>
              </a:ext>
            </a:extLst>
          </p:cNvPr>
          <p:cNvGrpSpPr/>
          <p:nvPr/>
        </p:nvGrpSpPr>
        <p:grpSpPr>
          <a:xfrm>
            <a:off x="218226" y="3953657"/>
            <a:ext cx="6354499" cy="2267209"/>
            <a:chOff x="1639811" y="1020095"/>
            <a:chExt cx="5945193" cy="1939368"/>
          </a:xfrm>
        </p:grpSpPr>
        <p:sp>
          <p:nvSpPr>
            <p:cNvPr id="101" name="Rounded Rectangle 23">
              <a:extLst>
                <a:ext uri="{FF2B5EF4-FFF2-40B4-BE49-F238E27FC236}">
                  <a16:creationId xmlns:a16="http://schemas.microsoft.com/office/drawing/2014/main" id="{842EC221-A0D5-41DF-981E-F86D9DB03B2B}"/>
                </a:ext>
              </a:extLst>
            </p:cNvPr>
            <p:cNvSpPr/>
            <p:nvPr/>
          </p:nvSpPr>
          <p:spPr>
            <a:xfrm>
              <a:off x="1639811" y="1020095"/>
              <a:ext cx="5864377" cy="760183"/>
            </a:xfrm>
            <a:prstGeom prst="roundRect">
              <a:avLst/>
            </a:prstGeom>
            <a:solidFill>
              <a:srgbClr val="001965"/>
            </a:solidFill>
            <a:ln w="9525">
              <a:solidFill>
                <a:srgbClr val="0019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02" name="TextBox 24">
              <a:extLst>
                <a:ext uri="{FF2B5EF4-FFF2-40B4-BE49-F238E27FC236}">
                  <a16:creationId xmlns:a16="http://schemas.microsoft.com/office/drawing/2014/main" id="{8F78B293-CDB6-4EAB-BD66-5A9DE20F53EF}"/>
                </a:ext>
              </a:extLst>
            </p:cNvPr>
            <p:cNvSpPr txBox="1"/>
            <p:nvPr/>
          </p:nvSpPr>
          <p:spPr>
            <a:xfrm>
              <a:off x="1639811" y="1026711"/>
              <a:ext cx="5945193" cy="710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600" b="1" dirty="0">
                  <a:solidFill>
                    <a:srgbClr val="FFFFFF"/>
                  </a:solidFill>
                </a:rPr>
                <a:t>Significant decrease </a:t>
              </a:r>
              <a:r>
                <a:rPr lang="en-GB" sz="1600" dirty="0">
                  <a:solidFill>
                    <a:srgbClr val="FFFFFF"/>
                  </a:solidFill>
                </a:rPr>
                <a:t>in obesity comorbidity – </a:t>
              </a:r>
              <a:r>
                <a:rPr lang="en-GB" sz="1600" b="1" dirty="0">
                  <a:solidFill>
                    <a:srgbClr val="FFFFFF"/>
                  </a:solidFill>
                </a:rPr>
                <a:t>female infertility </a:t>
              </a:r>
              <a:r>
                <a:rPr lang="en-GB" sz="1600" dirty="0">
                  <a:solidFill>
                    <a:srgbClr val="FFFFFF"/>
                  </a:solidFill>
                </a:rPr>
                <a:t>is possible, regardless of pre-existing disease, with a </a:t>
              </a:r>
              <a:r>
                <a:rPr lang="en-GB" sz="1600" b="1" dirty="0">
                  <a:solidFill>
                    <a:srgbClr val="FFFFFF"/>
                  </a:solidFill>
                </a:rPr>
                <a:t>&gt;5% reduction in weight </a:t>
              </a:r>
              <a:endParaRPr lang="en-GB" sz="1600" b="1" baseline="30000" dirty="0">
                <a:solidFill>
                  <a:srgbClr val="FFFFFF"/>
                </a:solidFill>
              </a:endParaRPr>
            </a:p>
          </p:txBody>
        </p:sp>
        <p:grpSp>
          <p:nvGrpSpPr>
            <p:cNvPr id="104" name="Group 1">
              <a:extLst>
                <a:ext uri="{FF2B5EF4-FFF2-40B4-BE49-F238E27FC236}">
                  <a16:creationId xmlns:a16="http://schemas.microsoft.com/office/drawing/2014/main" id="{9CA33288-760F-49EA-9EF9-931F0F1912A2}"/>
                </a:ext>
              </a:extLst>
            </p:cNvPr>
            <p:cNvGrpSpPr/>
            <p:nvPr/>
          </p:nvGrpSpPr>
          <p:grpSpPr>
            <a:xfrm>
              <a:off x="1639811" y="2283644"/>
              <a:ext cx="5864377" cy="675819"/>
              <a:chOff x="1639811" y="2251840"/>
              <a:chExt cx="5864377" cy="675819"/>
            </a:xfrm>
          </p:grpSpPr>
          <p:sp>
            <p:nvSpPr>
              <p:cNvPr id="106" name="Rounded Rectangle 17">
                <a:extLst>
                  <a:ext uri="{FF2B5EF4-FFF2-40B4-BE49-F238E27FC236}">
                    <a16:creationId xmlns:a16="http://schemas.microsoft.com/office/drawing/2014/main" id="{DDED242F-8A8B-4161-96A5-CAAB7F8904CC}"/>
                  </a:ext>
                </a:extLst>
              </p:cNvPr>
              <p:cNvSpPr/>
              <p:nvPr/>
            </p:nvSpPr>
            <p:spPr>
              <a:xfrm>
                <a:off x="1639811" y="2251840"/>
                <a:ext cx="5864377" cy="675819"/>
              </a:xfrm>
              <a:prstGeom prst="roundRect">
                <a:avLst/>
              </a:prstGeom>
              <a:solidFill>
                <a:srgbClr val="AEA79F"/>
              </a:solidFill>
              <a:ln w="9525">
                <a:solidFill>
                  <a:srgbClr val="AEA79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TextBox 12">
                <a:extLst>
                  <a:ext uri="{FF2B5EF4-FFF2-40B4-BE49-F238E27FC236}">
                    <a16:creationId xmlns:a16="http://schemas.microsoft.com/office/drawing/2014/main" id="{3F780089-7634-4391-9C0A-4C4AB67B7219}"/>
                  </a:ext>
                </a:extLst>
              </p:cNvPr>
              <p:cNvSpPr txBox="1"/>
              <p:nvPr/>
            </p:nvSpPr>
            <p:spPr>
              <a:xfrm>
                <a:off x="1639811" y="2344108"/>
                <a:ext cx="5864377" cy="5002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>
                  <a:defRPr/>
                </a:pPr>
                <a:r>
                  <a:rPr lang="en-GB" sz="1600" dirty="0">
                    <a:solidFill>
                      <a:srgbClr val="FFFFFF"/>
                    </a:solidFill>
                  </a:rPr>
                  <a:t>A reasonable goal with available </a:t>
                </a:r>
                <a:r>
                  <a:rPr lang="en-GB" sz="1600" b="1" dirty="0">
                    <a:solidFill>
                      <a:srgbClr val="FFFFFF"/>
                    </a:solidFill>
                  </a:rPr>
                  <a:t>lifestyle</a:t>
                </a:r>
                <a:r>
                  <a:rPr lang="en-GB" sz="1600" dirty="0">
                    <a:solidFill>
                      <a:srgbClr val="FFFFFF"/>
                    </a:solidFill>
                  </a:rPr>
                  <a:t> weight loss programmes and </a:t>
                </a:r>
                <a:r>
                  <a:rPr lang="en-GB" sz="1600" b="1" dirty="0">
                    <a:solidFill>
                      <a:srgbClr val="FFFFFF"/>
                    </a:solidFill>
                  </a:rPr>
                  <a:t>pharmacotherapy</a:t>
                </a:r>
              </a:p>
            </p:txBody>
          </p:sp>
        </p:grpSp>
        <p:sp>
          <p:nvSpPr>
            <p:cNvPr id="99" name="Down Arrow 39">
              <a:extLst>
                <a:ext uri="{FF2B5EF4-FFF2-40B4-BE49-F238E27FC236}">
                  <a16:creationId xmlns:a16="http://schemas.microsoft.com/office/drawing/2014/main" id="{64CE712D-C9D3-4B8B-9997-3945A45B56EB}"/>
                </a:ext>
              </a:extLst>
            </p:cNvPr>
            <p:cNvSpPr/>
            <p:nvPr/>
          </p:nvSpPr>
          <p:spPr>
            <a:xfrm>
              <a:off x="4383739" y="1837871"/>
              <a:ext cx="376518" cy="431075"/>
            </a:xfrm>
            <a:prstGeom prst="downArrow">
              <a:avLst/>
            </a:prstGeom>
            <a:solidFill>
              <a:srgbClr val="009FD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Parentesi quadra chiusa 9">
            <a:extLst>
              <a:ext uri="{FF2B5EF4-FFF2-40B4-BE49-F238E27FC236}">
                <a16:creationId xmlns:a16="http://schemas.microsoft.com/office/drawing/2014/main" id="{649D6CE0-21C7-4DEA-8485-6453DF1A2577}"/>
              </a:ext>
            </a:extLst>
          </p:cNvPr>
          <p:cNvSpPr/>
          <p:nvPr/>
        </p:nvSpPr>
        <p:spPr>
          <a:xfrm rot="5400000">
            <a:off x="3334558" y="3767383"/>
            <a:ext cx="45719" cy="2004292"/>
          </a:xfrm>
          <a:prstGeom prst="rightBracket">
            <a:avLst/>
          </a:prstGeom>
          <a:solidFill>
            <a:srgbClr val="009FDA"/>
          </a:solidFill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9A3C96DA-4BA0-4C42-A24E-210254C2E9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924" y="1117353"/>
            <a:ext cx="829984" cy="1892614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782A897C-CD98-4FAC-92FD-C0F1DFDA8F0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8" b="6"/>
          <a:stretch/>
        </p:blipFill>
        <p:spPr>
          <a:xfrm>
            <a:off x="6680345" y="1591953"/>
            <a:ext cx="5280486" cy="4597550"/>
          </a:xfrm>
          <a:prstGeom prst="rect">
            <a:avLst/>
          </a:prstGeom>
        </p:spPr>
      </p:pic>
      <p:sp>
        <p:nvSpPr>
          <p:cNvPr id="17" name="Parentesi quadra chiusa 16">
            <a:extLst>
              <a:ext uri="{FF2B5EF4-FFF2-40B4-BE49-F238E27FC236}">
                <a16:creationId xmlns:a16="http://schemas.microsoft.com/office/drawing/2014/main" id="{D4316118-2856-4AB8-A039-FF09B62F1FC6}"/>
              </a:ext>
            </a:extLst>
          </p:cNvPr>
          <p:cNvSpPr/>
          <p:nvPr/>
        </p:nvSpPr>
        <p:spPr>
          <a:xfrm rot="5400000">
            <a:off x="5590000" y="3950921"/>
            <a:ext cx="45719" cy="1108953"/>
          </a:xfrm>
          <a:prstGeom prst="rightBracket">
            <a:avLst/>
          </a:prstGeom>
          <a:solidFill>
            <a:srgbClr val="009FDA"/>
          </a:solidFill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1150286-CF64-411E-855D-7792A9B9DDC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5" b="-366"/>
          <a:stretch/>
        </p:blipFill>
        <p:spPr>
          <a:xfrm>
            <a:off x="5843182" y="3006527"/>
            <a:ext cx="6268119" cy="179035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20" name="Ovale 19">
            <a:extLst>
              <a:ext uri="{FF2B5EF4-FFF2-40B4-BE49-F238E27FC236}">
                <a16:creationId xmlns:a16="http://schemas.microsoft.com/office/drawing/2014/main" id="{68228027-366C-4BB8-B95E-14D71EB5C4CA}"/>
              </a:ext>
            </a:extLst>
          </p:cNvPr>
          <p:cNvSpPr/>
          <p:nvPr/>
        </p:nvSpPr>
        <p:spPr>
          <a:xfrm>
            <a:off x="7119991" y="2854562"/>
            <a:ext cx="1426669" cy="47532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982016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tangolo 36">
            <a:extLst>
              <a:ext uri="{FF2B5EF4-FFF2-40B4-BE49-F238E27FC236}">
                <a16:creationId xmlns:a16="http://schemas.microsoft.com/office/drawing/2014/main" id="{DD5CF8B5-546F-48B5-B8EC-7A2D68D294FD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ractice Committee of the American Society for Reproductive Medicine. Obesity and reproduction: a committee opinion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ert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er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15;104(5):1116-26.</a:t>
            </a:r>
            <a:endParaRPr lang="fr-F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7" name="Segnaposto numero diapositiva 5">
            <a:extLst>
              <a:ext uri="{FF2B5EF4-FFF2-40B4-BE49-F238E27FC236}">
                <a16:creationId xmlns:a16="http://schemas.microsoft.com/office/drawing/2014/main" id="{391270B0-9DE1-4090-9E2C-60B083BF7023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5</a:t>
            </a:fld>
            <a:endParaRPr lang="en-GB" sz="70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78CB838B-E9EA-4ED9-8087-82CFA286FD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4" b="200"/>
          <a:stretch/>
        </p:blipFill>
        <p:spPr>
          <a:xfrm>
            <a:off x="6330526" y="178264"/>
            <a:ext cx="5861474" cy="1549742"/>
          </a:xfrm>
          <a:prstGeom prst="rect">
            <a:avLst/>
          </a:prstGeom>
        </p:spPr>
      </p:pic>
      <p:pic>
        <p:nvPicPr>
          <p:cNvPr id="31" name="Immagine 30" descr="Immagine che contiene testo&#10;&#10;Descrizione generata automaticamente">
            <a:extLst>
              <a:ext uri="{FF2B5EF4-FFF2-40B4-BE49-F238E27FC236}">
                <a16:creationId xmlns:a16="http://schemas.microsoft.com/office/drawing/2014/main" id="{B1B6941D-C0EF-4AD4-91A0-F477997D7E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58" y="732514"/>
            <a:ext cx="5038342" cy="5715667"/>
          </a:xfrm>
          <a:prstGeom prst="rect">
            <a:avLst/>
          </a:prstGeom>
        </p:spPr>
      </p:pic>
      <p:sp>
        <p:nvSpPr>
          <p:cNvPr id="34" name="Rettangolo con angoli arrotondati 33">
            <a:extLst>
              <a:ext uri="{FF2B5EF4-FFF2-40B4-BE49-F238E27FC236}">
                <a16:creationId xmlns:a16="http://schemas.microsoft.com/office/drawing/2014/main" id="{DBBAB0D6-D2A6-4879-AFA3-5849C3738038}"/>
              </a:ext>
            </a:extLst>
          </p:cNvPr>
          <p:cNvSpPr/>
          <p:nvPr/>
        </p:nvSpPr>
        <p:spPr>
          <a:xfrm>
            <a:off x="554573" y="3219450"/>
            <a:ext cx="5198527" cy="709149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0" name="Freccia destra rientrata 9">
            <a:extLst>
              <a:ext uri="{FF2B5EF4-FFF2-40B4-BE49-F238E27FC236}">
                <a16:creationId xmlns:a16="http://schemas.microsoft.com/office/drawing/2014/main" id="{F1E52499-8EA8-446C-A7ED-CE088A675777}"/>
              </a:ext>
            </a:extLst>
          </p:cNvPr>
          <p:cNvSpPr/>
          <p:nvPr/>
        </p:nvSpPr>
        <p:spPr>
          <a:xfrm>
            <a:off x="6096000" y="3429000"/>
            <a:ext cx="962025" cy="266700"/>
          </a:xfrm>
          <a:prstGeom prst="notchedRightArrow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560BE0A5-2EAB-46F3-9C39-152C15EF8C4F}"/>
              </a:ext>
            </a:extLst>
          </p:cNvPr>
          <p:cNvSpPr/>
          <p:nvPr/>
        </p:nvSpPr>
        <p:spPr>
          <a:xfrm>
            <a:off x="6577012" y="3219450"/>
            <a:ext cx="5319741" cy="1241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1965"/>
              </a:buClr>
            </a:pPr>
            <a:r>
              <a:rPr lang="it-IT" sz="3733" dirty="0" err="1">
                <a:solidFill>
                  <a:srgbClr val="0070C0"/>
                </a:solidFill>
                <a:latin typeface="Verdana"/>
              </a:rPr>
              <a:t>Is</a:t>
            </a:r>
            <a:r>
              <a:rPr lang="it-IT" sz="3733" dirty="0">
                <a:solidFill>
                  <a:srgbClr val="0070C0"/>
                </a:solidFill>
                <a:latin typeface="Verdana"/>
              </a:rPr>
              <a:t> lifestyle </a:t>
            </a:r>
            <a:r>
              <a:rPr lang="it-IT" sz="3733" dirty="0" err="1">
                <a:solidFill>
                  <a:srgbClr val="0070C0"/>
                </a:solidFill>
                <a:latin typeface="Verdana"/>
              </a:rPr>
              <a:t>modification</a:t>
            </a:r>
            <a:r>
              <a:rPr lang="it-IT" sz="3733" dirty="0">
                <a:solidFill>
                  <a:srgbClr val="0070C0"/>
                </a:solidFill>
                <a:latin typeface="Verdana"/>
              </a:rPr>
              <a:t> </a:t>
            </a:r>
            <a:r>
              <a:rPr lang="it-IT" sz="3733" dirty="0" err="1">
                <a:solidFill>
                  <a:srgbClr val="0070C0"/>
                </a:solidFill>
                <a:latin typeface="Verdana"/>
              </a:rPr>
              <a:t>enough</a:t>
            </a:r>
            <a:r>
              <a:rPr lang="it-IT" sz="3733" dirty="0">
                <a:solidFill>
                  <a:srgbClr val="0070C0"/>
                </a:solidFill>
                <a:latin typeface="Verdana"/>
              </a:rPr>
              <a:t>?</a:t>
            </a:r>
            <a:endParaRPr lang="en-GB" sz="3733" baseline="30000" dirty="0">
              <a:solidFill>
                <a:srgbClr val="0070C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46573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3"/>
          <a:srcRect l="2593" t="29440" r="32122" b="29277"/>
          <a:stretch/>
        </p:blipFill>
        <p:spPr>
          <a:xfrm>
            <a:off x="2671713" y="132371"/>
            <a:ext cx="9097887" cy="3234519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4"/>
          <a:srcRect l="1784" t="28498" r="34336" b="24114"/>
          <a:stretch/>
        </p:blipFill>
        <p:spPr>
          <a:xfrm>
            <a:off x="208266" y="3597328"/>
            <a:ext cx="7339664" cy="306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802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47999" y="162000"/>
            <a:ext cx="10896000" cy="972000"/>
          </a:xfrm>
        </p:spPr>
        <p:txBody>
          <a:bodyPr/>
          <a:lstStyle/>
          <a:p>
            <a:r>
              <a:rPr lang="it-IT" dirty="0" smtClean="0"/>
              <a:t>CONCLUSIONI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47998" y="972000"/>
            <a:ext cx="11044129" cy="5148384"/>
          </a:xfrm>
        </p:spPr>
        <p:txBody>
          <a:bodyPr/>
          <a:lstStyle/>
          <a:p>
            <a:pPr marL="0" indent="0" algn="just">
              <a:buNone/>
            </a:pPr>
            <a:r>
              <a:rPr lang="it-IT" dirty="0" smtClean="0"/>
              <a:t>Le interazioni tra obesità e fertilità femminile sono molteplici, riguardano meccanismi sia centrali che periferici in parte ancora da chiarire</a:t>
            </a:r>
          </a:p>
          <a:p>
            <a:pPr marL="0" indent="0" algn="just">
              <a:buNone/>
            </a:pPr>
            <a:endParaRPr lang="it-IT" dirty="0"/>
          </a:p>
          <a:p>
            <a:pPr marL="0" indent="0" algn="just">
              <a:buNone/>
            </a:pPr>
            <a:r>
              <a:rPr lang="it-IT" dirty="0" smtClean="0"/>
              <a:t>Sovrappeso e obesità influenzano negativamente la fertilità femminile e peggiorano gli </a:t>
            </a:r>
            <a:r>
              <a:rPr lang="it-IT" dirty="0" err="1" smtClean="0"/>
              <a:t>outcomes</a:t>
            </a:r>
            <a:r>
              <a:rPr lang="it-IT" dirty="0" smtClean="0"/>
              <a:t> di PMA</a:t>
            </a:r>
          </a:p>
          <a:p>
            <a:pPr marL="0" indent="0" algn="just">
              <a:buNone/>
            </a:pPr>
            <a:endParaRPr lang="it-IT" dirty="0"/>
          </a:p>
          <a:p>
            <a:pPr marL="0" indent="0" algn="just">
              <a:buNone/>
            </a:pPr>
            <a:r>
              <a:rPr lang="it-IT" dirty="0" smtClean="0"/>
              <a:t>Indurre una perdita di peso di almeno il 5-10% contribuisce a migliorare lo stato di salute delle donne con sovrappeso e obesità e migliora la fertilità di donne con o senza PCOS</a:t>
            </a:r>
          </a:p>
          <a:p>
            <a:pPr marL="0" indent="0" algn="just">
              <a:buNone/>
            </a:pPr>
            <a:endParaRPr lang="it-IT" dirty="0"/>
          </a:p>
          <a:p>
            <a:pPr marL="0" indent="0" algn="just">
              <a:buNone/>
            </a:pPr>
            <a:r>
              <a:rPr lang="it-IT" dirty="0" smtClean="0"/>
              <a:t>I </a:t>
            </a:r>
            <a:r>
              <a:rPr lang="it-IT" dirty="0" smtClean="0"/>
              <a:t>GLP1ra, sono </a:t>
            </a:r>
            <a:r>
              <a:rPr lang="it-IT" dirty="0" smtClean="0"/>
              <a:t>una categoria di farmaci promettenti nella cura della sub-fertilità delle donne sovrappeso-obese con o senza PCOS esercitando effetti diretti sull’asse gonadotropo, </a:t>
            </a:r>
            <a:r>
              <a:rPr lang="it-IT" dirty="0" smtClean="0"/>
              <a:t>probabili effetti sull’ovaio </a:t>
            </a:r>
            <a:r>
              <a:rPr lang="it-IT" dirty="0" smtClean="0"/>
              <a:t>e sull’endometrio </a:t>
            </a:r>
            <a:r>
              <a:rPr lang="it-IT" dirty="0" smtClean="0"/>
              <a:t>(da chiarire)</a:t>
            </a:r>
            <a:endParaRPr lang="it-IT" dirty="0" smtClean="0"/>
          </a:p>
          <a:p>
            <a:pPr marL="0" indent="0" algn="just">
              <a:buNone/>
            </a:pPr>
            <a:endParaRPr lang="it-IT" dirty="0" smtClean="0"/>
          </a:p>
          <a:p>
            <a:pPr marL="0" indent="0" algn="just">
              <a:buNone/>
            </a:pPr>
            <a:r>
              <a:rPr lang="it-IT" dirty="0" smtClean="0"/>
              <a:t>Ulteriori studi prospettici controllati RTC e su più numerose casistiche di pazienti sono necessari per confermare questi dati preliminari</a:t>
            </a:r>
          </a:p>
          <a:p>
            <a:pPr marL="0" indent="0" algn="just">
              <a:buNone/>
            </a:pPr>
            <a:r>
              <a:rPr lang="it-IT" dirty="0" smtClean="0"/>
              <a:t> 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17</a:t>
            </a:fld>
            <a:endParaRPr lang="en-GB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egnaposto numero diapositiva 5">
            <a:extLst>
              <a:ext uri="{FF2B5EF4-FFF2-40B4-BE49-F238E27FC236}">
                <a16:creationId xmlns:a16="http://schemas.microsoft.com/office/drawing/2014/main" id="{391270B0-9DE1-4090-9E2C-60B083BF7023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8</a:t>
            </a:fld>
            <a:endParaRPr lang="en-GB" sz="700" dirty="0"/>
          </a:p>
        </p:txBody>
      </p:sp>
      <p:pic>
        <p:nvPicPr>
          <p:cNvPr id="1026" name="Picture 2" descr="Weight Loss for PCOS (Polycystic Ovarian Syndrome) - Dr Rajeswaran Dr  Rajeswaran">
            <a:extLst>
              <a:ext uri="{FF2B5EF4-FFF2-40B4-BE49-F238E27FC236}">
                <a16:creationId xmlns:a16="http://schemas.microsoft.com/office/drawing/2014/main" id="{AD99F0F6-2BC2-46C4-87E3-335AB8C52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684" y="1183041"/>
            <a:ext cx="5015696" cy="5431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itle 2">
            <a:extLst>
              <a:ext uri="{FF2B5EF4-FFF2-40B4-BE49-F238E27FC236}">
                <a16:creationId xmlns:a16="http://schemas.microsoft.com/office/drawing/2014/main" id="{7C36B2B3-F15E-4F3D-8531-146E36E57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694" y="1329853"/>
            <a:ext cx="6094175" cy="871104"/>
          </a:xfrm>
        </p:spPr>
        <p:txBody>
          <a:bodyPr/>
          <a:lstStyle/>
          <a:p>
            <a:pPr algn="ctr"/>
            <a:r>
              <a:rPr lang="en-CA" sz="44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eight Loss</a:t>
            </a:r>
            <a:br>
              <a:rPr lang="en-CA" sz="44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sz="4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A63A0085-B317-4B84-9613-6B82C6B0BE80}"/>
              </a:ext>
            </a:extLst>
          </p:cNvPr>
          <p:cNvSpPr txBox="1">
            <a:spLocks/>
          </p:cNvSpPr>
          <p:nvPr/>
        </p:nvSpPr>
        <p:spPr>
          <a:xfrm>
            <a:off x="633407" y="2139071"/>
            <a:ext cx="5810673" cy="22493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dirty="0">
                <a:solidFill>
                  <a:schemeClr val="accent5">
                    <a:lumMod val="75000"/>
                  </a:scheme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 we finally have a treatment option to improve fertility outcomes?</a:t>
            </a:r>
            <a:br>
              <a:rPr lang="en-CA" dirty="0">
                <a:solidFill>
                  <a:schemeClr val="accent5">
                    <a:lumMod val="75000"/>
                  </a:scheme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dirty="0">
              <a:solidFill>
                <a:schemeClr val="accent5">
                  <a:lumMod val="75000"/>
                </a:schemeClr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53" name="Picture 2" descr="Obese Icon - Download in Glyph Style">
            <a:extLst>
              <a:ext uri="{FF2B5EF4-FFF2-40B4-BE49-F238E27FC236}">
                <a16:creationId xmlns:a16="http://schemas.microsoft.com/office/drawing/2014/main" id="{AA630077-AF19-48DA-AA1B-D23F1A7E19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rgbClr val="00196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891" y="4628941"/>
            <a:ext cx="2090163" cy="209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Obesity Icon - Download Obesity Icon 5364 | Noun Project">
            <a:extLst>
              <a:ext uri="{FF2B5EF4-FFF2-40B4-BE49-F238E27FC236}">
                <a16:creationId xmlns:a16="http://schemas.microsoft.com/office/drawing/2014/main" id="{FCF63789-72FA-4543-A3A5-F0CE9D091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00196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420" y="4607540"/>
            <a:ext cx="2090162" cy="209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itle 2">
            <a:extLst>
              <a:ext uri="{FF2B5EF4-FFF2-40B4-BE49-F238E27FC236}">
                <a16:creationId xmlns:a16="http://schemas.microsoft.com/office/drawing/2014/main" id="{1A29BD53-FC26-4C2D-A30E-0A50E8189996}"/>
              </a:ext>
            </a:extLst>
          </p:cNvPr>
          <p:cNvSpPr txBox="1">
            <a:spLocks/>
          </p:cNvSpPr>
          <p:nvPr/>
        </p:nvSpPr>
        <p:spPr bwMode="auto">
          <a:xfrm>
            <a:off x="5246242" y="5459559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ity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BBE2B28C-0FAD-4C89-A470-5F6BA018A74B}"/>
              </a:ext>
            </a:extLst>
          </p:cNvPr>
          <p:cNvSpPr txBox="1">
            <a:spLocks/>
          </p:cNvSpPr>
          <p:nvPr/>
        </p:nvSpPr>
        <p:spPr bwMode="auto">
          <a:xfrm>
            <a:off x="115747" y="5459559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verweight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2656568" y="147973"/>
            <a:ext cx="62376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b="1" dirty="0" smtClean="0"/>
              <a:t>GRAZIE PER L’ATTENZIONE</a:t>
            </a:r>
            <a:endParaRPr lang="it-IT" sz="3600" b="1" dirty="0"/>
          </a:p>
        </p:txBody>
      </p:sp>
    </p:spTree>
    <p:extLst>
      <p:ext uri="{BB962C8B-B14F-4D97-AF65-F5344CB8AC3E}">
        <p14:creationId xmlns:p14="http://schemas.microsoft.com/office/powerpoint/2010/main" val="303144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Schermata 2017-04-03 alle 06.05.3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61" y="180871"/>
            <a:ext cx="4877762" cy="2033144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1982317" y="2854419"/>
            <a:ext cx="830887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457200">
              <a:buFont typeface="Arial"/>
              <a:buChar char="•"/>
            </a:pPr>
            <a:r>
              <a:rPr lang="en-US" b="1" dirty="0">
                <a:solidFill>
                  <a:prstClr val="black"/>
                </a:solidFill>
                <a:latin typeface="Calibri"/>
              </a:rPr>
              <a:t>501 couples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trying for pregnancy and recruited from 16 counties in Michigan and Texas between 2005 and 2009. Couples were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followed daily for up to a year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of trying or until a </a:t>
            </a:r>
            <a:r>
              <a:rPr lang="en-US" dirty="0" err="1">
                <a:solidFill>
                  <a:prstClr val="black"/>
                </a:solidFill>
                <a:latin typeface="Calibri"/>
              </a:rPr>
              <a:t>hCG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pregnancy.</a:t>
            </a:r>
          </a:p>
          <a:p>
            <a:pPr marL="285750" indent="-285750" algn="just" defTabSz="45720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27% of women and 41% of men had BMI ≥30 kg/m2.</a:t>
            </a:r>
          </a:p>
          <a:p>
            <a:pPr marL="285750" indent="-285750" algn="just" defTabSz="457200">
              <a:buFont typeface="Arial"/>
              <a:buChar char="•"/>
            </a:pPr>
            <a:r>
              <a:rPr lang="en-US" b="1" dirty="0" err="1">
                <a:solidFill>
                  <a:prstClr val="black"/>
                </a:solidFill>
                <a:latin typeface="Calibri"/>
              </a:rPr>
              <a:t>Fecundability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was reduced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by 23-36%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in couples in which the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woman’s waist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circumference was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&gt;88.6 cm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compared with those in which women had a smaller waist circumference (&lt; 80 cm)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regardless of the men’s waist circumference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. </a:t>
            </a:r>
          </a:p>
          <a:p>
            <a:pPr marL="285750" indent="-285750" algn="just" defTabSz="45720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In couples in which the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man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had a larger waist circumference (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94-101.6 cm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) and the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woman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had a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greater waist-to-height ratio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a significant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reduction in </a:t>
            </a:r>
            <a:r>
              <a:rPr lang="en-US" b="1" dirty="0" err="1">
                <a:solidFill>
                  <a:prstClr val="black"/>
                </a:solidFill>
                <a:latin typeface="Calibri"/>
              </a:rPr>
              <a:t>fecundability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(50%)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was found compared with couples with smaller waist circumferences (adjusted </a:t>
            </a:r>
            <a:r>
              <a:rPr lang="en-US" dirty="0" err="1">
                <a:solidFill>
                  <a:prstClr val="black"/>
                </a:solidFill>
                <a:latin typeface="Calibri"/>
              </a:rPr>
              <a:t>fecundability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OR = 0.5; 95% CI, 0.27-0.94).</a:t>
            </a:r>
            <a:endParaRPr lang="it-IT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942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/>
          <a:srcRect l="28949" t="23331" r="7031" b="6807"/>
          <a:stretch/>
        </p:blipFill>
        <p:spPr>
          <a:xfrm>
            <a:off x="1152394" y="297649"/>
            <a:ext cx="9845458" cy="604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42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Fig. 1">
            <a:extLst>
              <a:ext uri="{FF2B5EF4-FFF2-40B4-BE49-F238E27FC236}">
                <a16:creationId xmlns:a16="http://schemas.microsoft.com/office/drawing/2014/main" id="{5C4A658F-78F3-442F-8DA9-262B6FC33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09" y="1406450"/>
            <a:ext cx="6916240" cy="510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2">
            <a:extLst>
              <a:ext uri="{FF2B5EF4-FFF2-40B4-BE49-F238E27FC236}">
                <a16:creationId xmlns:a16="http://schemas.microsoft.com/office/drawing/2014/main" id="{EF7F0C71-E537-4A61-B311-03ED33E72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845" y="685750"/>
            <a:ext cx="11347200" cy="521883"/>
          </a:xfrm>
        </p:spPr>
        <p:txBody>
          <a:bodyPr/>
          <a:lstStyle/>
          <a:p>
            <a:r>
              <a:rPr lang="en-GB" b="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emale infertility: which role for obesity?</a:t>
            </a:r>
            <a:endParaRPr lang="en-GB" b="0" dirty="0"/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319DB84E-CDEF-4C1C-BA6F-F046CF5E66F8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4</a:t>
            </a:fld>
            <a:endParaRPr lang="en-GB" sz="700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100F6EE4-9CAF-48BC-B3DC-EADDD28DFE67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ambineri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A et al. Int J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pp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9; 9(1) :65-72; Jan Willem et al Human Reproduction Vol.23, No.2 pp. 324–328, 2008. </a:t>
            </a:r>
          </a:p>
        </p:txBody>
      </p:sp>
      <p:sp>
        <p:nvSpPr>
          <p:cNvPr id="11" name="Teardrop 2">
            <a:extLst>
              <a:ext uri="{FF2B5EF4-FFF2-40B4-BE49-F238E27FC236}">
                <a16:creationId xmlns:a16="http://schemas.microsoft.com/office/drawing/2014/main" id="{231DBFE6-ADB8-45F8-9E54-411B7140E290}"/>
              </a:ext>
            </a:extLst>
          </p:cNvPr>
          <p:cNvSpPr/>
          <p:nvPr/>
        </p:nvSpPr>
        <p:spPr>
          <a:xfrm rot="4447755">
            <a:off x="7352340" y="2501235"/>
            <a:ext cx="4344421" cy="4231124"/>
          </a:xfrm>
          <a:prstGeom prst="teardrop">
            <a:avLst>
              <a:gd name="adj" fmla="val 99390"/>
            </a:avLst>
          </a:prstGeom>
          <a:solidFill>
            <a:srgbClr val="D4E9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CF7D4D76-7BBC-4ADA-B263-2531D47BC2A0}"/>
              </a:ext>
            </a:extLst>
          </p:cNvPr>
          <p:cNvSpPr txBox="1">
            <a:spLocks/>
          </p:cNvSpPr>
          <p:nvPr/>
        </p:nvSpPr>
        <p:spPr>
          <a:xfrm>
            <a:off x="7636686" y="3521453"/>
            <a:ext cx="3990980" cy="2407564"/>
          </a:xfrm>
          <a:prstGeom prst="rect">
            <a:avLst/>
          </a:prstGeom>
          <a:noFill/>
        </p:spPr>
        <p:txBody>
          <a:bodyPr vert="horz" wrap="square" lIns="0" tIns="0" rIns="0" bIns="144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Each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BM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uni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&gt; 29 reduc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the chance of achieving a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pregnanc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within 12 months b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about 4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pis For Office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BMI of 40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the likelihood of getti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pregna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i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43% low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compared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normal weigh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becau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h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/>
                <a:ea typeface="+mj-ea"/>
                <a:cs typeface="+mj-cs"/>
              </a:rPr>
              <a:t>quality of the eggs is reduce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is For Office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5384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>
            <a:extLst>
              <a:ext uri="{FF2B5EF4-FFF2-40B4-BE49-F238E27FC236}">
                <a16:creationId xmlns:a16="http://schemas.microsoft.com/office/drawing/2014/main" id="{D99443D4-2B3B-453E-8E89-09A1F42EC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576" y="625808"/>
            <a:ext cx="10896000" cy="1296000"/>
          </a:xfrm>
        </p:spPr>
        <p:txBody>
          <a:bodyPr/>
          <a:lstStyle/>
          <a:p>
            <a:pPr algn="ctr"/>
            <a:r>
              <a:rPr lang="en-CA" sz="72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/>
            </a:r>
            <a:br>
              <a:rPr lang="en-CA" sz="72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sz="72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1026" name="Picture 2" descr="Obese Icon - Download in Glyph Style">
            <a:extLst>
              <a:ext uri="{FF2B5EF4-FFF2-40B4-BE49-F238E27FC236}">
                <a16:creationId xmlns:a16="http://schemas.microsoft.com/office/drawing/2014/main" id="{1050F57C-B061-41ED-8A3A-69369F13E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26" y="4053340"/>
            <a:ext cx="2090163" cy="209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besity Icon - Download Obesity Icon 5364 | Noun Project">
            <a:extLst>
              <a:ext uri="{FF2B5EF4-FFF2-40B4-BE49-F238E27FC236}">
                <a16:creationId xmlns:a16="http://schemas.microsoft.com/office/drawing/2014/main" id="{D7C1F7FA-FF0D-45F3-9067-AA2323A5D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26" y="1273398"/>
            <a:ext cx="2090162" cy="209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id="{825AA73C-2284-49D3-90B8-EBB142E5719F}"/>
              </a:ext>
            </a:extLst>
          </p:cNvPr>
          <p:cNvSpPr txBox="1">
            <a:spLocks/>
          </p:cNvSpPr>
          <p:nvPr/>
        </p:nvSpPr>
        <p:spPr bwMode="auto">
          <a:xfrm>
            <a:off x="2796267" y="4451381"/>
            <a:ext cx="4953000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1" i="0" u="none" strike="noStrike" kern="1200" cap="none" spc="0" normalizeH="0" baseline="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≥ 30 kg/m</a:t>
            </a:r>
            <a:r>
              <a:rPr kumimoji="0" lang="en-CA" sz="4400" b="1" i="0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kumimoji="0" lang="en-GB" sz="4400" b="1" i="0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0E68D5D4-60AF-48C6-A633-080F4F3F3906}"/>
              </a:ext>
            </a:extLst>
          </p:cNvPr>
          <p:cNvSpPr txBox="1">
            <a:spLocks/>
          </p:cNvSpPr>
          <p:nvPr/>
        </p:nvSpPr>
        <p:spPr bwMode="auto">
          <a:xfrm>
            <a:off x="2796267" y="1824874"/>
            <a:ext cx="4953000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1" i="0" u="none" strike="noStrike" kern="1200" cap="none" spc="0" normalizeH="0" baseline="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≥ 27 kg/m</a:t>
            </a:r>
            <a:r>
              <a:rPr kumimoji="0" lang="en-CA" sz="4400" b="1" i="0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kumimoji="0" lang="en-GB" sz="4400" b="1" i="0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4C769706-0581-485D-8500-1056E296E965}"/>
              </a:ext>
            </a:extLst>
          </p:cNvPr>
          <p:cNvSpPr txBox="1">
            <a:spLocks/>
          </p:cNvSpPr>
          <p:nvPr/>
        </p:nvSpPr>
        <p:spPr bwMode="auto">
          <a:xfrm>
            <a:off x="-56943" y="3510115"/>
            <a:ext cx="2967299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algn="ctr">
              <a:defRPr/>
            </a:pPr>
            <a:r>
              <a:rPr lang="en-CA" sz="2400" i="1" baseline="300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. </a:t>
            </a:r>
            <a:r>
              <a:rPr lang="en-CA" sz="2400" i="1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: 1.61 m, w: 70 kg</a:t>
            </a:r>
            <a:endParaRPr lang="en-GB" sz="2400" i="1" baseline="300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70181331-BACB-4630-BF06-5650FC5E9C5F}"/>
              </a:ext>
            </a:extLst>
          </p:cNvPr>
          <p:cNvSpPr txBox="1">
            <a:spLocks/>
          </p:cNvSpPr>
          <p:nvPr/>
        </p:nvSpPr>
        <p:spPr bwMode="auto">
          <a:xfrm>
            <a:off x="-56943" y="6257803"/>
            <a:ext cx="2967299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algn="ctr"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s. </a:t>
            </a:r>
            <a:r>
              <a:rPr lang="en-CA" sz="2400" i="1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: 1.61 m, w: 78 kg</a:t>
            </a:r>
            <a:endParaRPr lang="en-GB" sz="2400" i="1" baseline="300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id="{A8470288-A62C-4FA5-A72C-83BFADDE6B74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18D7344B-74CA-49C1-8F18-97F2217463DD}"/>
              </a:ext>
            </a:extLst>
          </p:cNvPr>
          <p:cNvSpPr txBox="1">
            <a:spLocks/>
          </p:cNvSpPr>
          <p:nvPr/>
        </p:nvSpPr>
        <p:spPr bwMode="auto">
          <a:xfrm>
            <a:off x="3406751" y="2799180"/>
            <a:ext cx="4274920" cy="1032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+ ≥ 1 comorbidities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[such as </a:t>
            </a:r>
            <a:r>
              <a:rPr kumimoji="0" lang="en-CA" sz="2400" b="1" i="1" u="none" strike="noStrike" kern="1200" cap="none" spc="0" normalizeH="0" baseline="30000" noProof="0" dirty="0" err="1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glycaemia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prediabetes or T2D), hypertension, </a:t>
            </a:r>
            <a:r>
              <a:rPr kumimoji="0" lang="en-CA" sz="2400" b="1" i="1" u="none" strike="noStrike" kern="1200" cap="none" spc="0" normalizeH="0" baseline="30000" noProof="0" dirty="0" err="1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lipidaemia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or OSAS]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3182D35D-4549-4931-AF95-35582365A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4417" y="6575866"/>
            <a:ext cx="2669749" cy="248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227" tIns="61976" rIns="120227" bIns="61976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2D, type 2 diabetes; OSAS, obstructive sleep apnoea.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9EFF5E1-DA05-4D98-8661-EEB40068F4FA}"/>
              </a:ext>
            </a:extLst>
          </p:cNvPr>
          <p:cNvSpPr txBox="1">
            <a:spLocks/>
          </p:cNvSpPr>
          <p:nvPr/>
        </p:nvSpPr>
        <p:spPr bwMode="auto">
          <a:xfrm>
            <a:off x="2594813" y="4558612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CA" sz="2400" i="1" baseline="300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ity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9D9EA32E-01ED-41FF-8D2B-06076A54FFCF}"/>
              </a:ext>
            </a:extLst>
          </p:cNvPr>
          <p:cNvSpPr txBox="1">
            <a:spLocks/>
          </p:cNvSpPr>
          <p:nvPr/>
        </p:nvSpPr>
        <p:spPr bwMode="auto">
          <a:xfrm>
            <a:off x="2805848" y="1921808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CA" sz="2400" i="1" baseline="300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verweight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" name="Parentesi graffa chiusa 1">
            <a:extLst>
              <a:ext uri="{FF2B5EF4-FFF2-40B4-BE49-F238E27FC236}">
                <a16:creationId xmlns:a16="http://schemas.microsoft.com/office/drawing/2014/main" id="{627D5080-A77A-428C-A7B2-BF406AAAA609}"/>
              </a:ext>
            </a:extLst>
          </p:cNvPr>
          <p:cNvSpPr/>
          <p:nvPr/>
        </p:nvSpPr>
        <p:spPr>
          <a:xfrm>
            <a:off x="7780619" y="1561702"/>
            <a:ext cx="348342" cy="4892969"/>
          </a:xfrm>
          <a:prstGeom prst="rightBrac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125B45D5-2AA1-4E6E-A187-FB2704B10B6B}"/>
              </a:ext>
            </a:extLst>
          </p:cNvPr>
          <p:cNvSpPr/>
          <p:nvPr/>
        </p:nvSpPr>
        <p:spPr>
          <a:xfrm>
            <a:off x="8186021" y="1747621"/>
            <a:ext cx="38998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1965"/>
              </a:buClr>
            </a:pP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50% 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f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COS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women are</a:t>
            </a:r>
          </a:p>
          <a:p>
            <a:pPr algn="ctr" defTabSz="1219170">
              <a:buClr>
                <a:srgbClr val="001965"/>
              </a:buClr>
            </a:pP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verweigh or Obese </a:t>
            </a:r>
            <a:r>
              <a:rPr lang="en-GB" sz="2400" baseline="30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1630ECF1-710F-4AA5-8CCF-26F1F0F2CC84}"/>
              </a:ext>
            </a:extLst>
          </p:cNvPr>
          <p:cNvSpPr/>
          <p:nvPr/>
        </p:nvSpPr>
        <p:spPr>
          <a:xfrm>
            <a:off x="8099578" y="3101278"/>
            <a:ext cx="407273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1965"/>
              </a:buClr>
            </a:pP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 common cause of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novulatory infertility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</a:t>
            </a:r>
            <a:r>
              <a:rPr lang="en-GB" sz="24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</a:p>
          <a:p>
            <a:pPr algn="ctr" defTabSz="1219170">
              <a:buClr>
                <a:srgbClr val="001965"/>
              </a:buClr>
            </a:pPr>
            <a:r>
              <a:rPr lang="en-CA" sz="2400" b="1" kern="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~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40% 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f women with PCOS are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nfertile</a:t>
            </a:r>
            <a:r>
              <a:rPr lang="en-GB" sz="2400" baseline="30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FAE9BC2C-A1C2-4874-8AEA-864426CF0D28}"/>
              </a:ext>
            </a:extLst>
          </p:cNvPr>
          <p:cNvSpPr/>
          <p:nvPr/>
        </p:nvSpPr>
        <p:spPr>
          <a:xfrm>
            <a:off x="190708" y="6634692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. Gambineri, A. et al. Int J Obes 2002; 26, 883–896. 2. Teede et al. BMC Med 2010; 8: 41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97EBD1F-990C-4C9B-AF22-127DB5EEDD22}"/>
              </a:ext>
            </a:extLst>
          </p:cNvPr>
          <p:cNvSpPr/>
          <p:nvPr/>
        </p:nvSpPr>
        <p:spPr>
          <a:xfrm>
            <a:off x="8099577" y="4856895"/>
            <a:ext cx="40727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1965"/>
              </a:buClr>
            </a:pP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n those with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COS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and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nfertility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</a:t>
            </a:r>
            <a:r>
              <a:rPr lang="en-CA" sz="2400" b="1" kern="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~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90% </a:t>
            </a:r>
            <a:r>
              <a:rPr lang="en-GB" sz="2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re </a:t>
            </a:r>
            <a:r>
              <a:rPr lang="en-GB" sz="2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verweight</a:t>
            </a:r>
            <a:r>
              <a:rPr lang="en-GB" sz="2400" baseline="30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9055404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0" grpId="0"/>
      <p:bldP spid="21" grpId="0"/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>
            <a:extLst>
              <a:ext uri="{FF2B5EF4-FFF2-40B4-BE49-F238E27FC236}">
                <a16:creationId xmlns:a16="http://schemas.microsoft.com/office/drawing/2014/main" id="{A5323BDB-C4DF-4AC5-A581-BCA12BAF52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" b="25"/>
          <a:stretch/>
        </p:blipFill>
        <p:spPr>
          <a:xfrm>
            <a:off x="0" y="85764"/>
            <a:ext cx="5778339" cy="1692166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9BFC92AF-E633-4A68-B2C3-8E9919992BB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19" b="40"/>
          <a:stretch/>
        </p:blipFill>
        <p:spPr>
          <a:xfrm>
            <a:off x="5657088" y="-127267"/>
            <a:ext cx="6096000" cy="4335558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92FDDB57-89B8-4D69-93D9-5D51894BBF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-30" b="31"/>
          <a:stretch/>
        </p:blipFill>
        <p:spPr>
          <a:xfrm>
            <a:off x="131378" y="1899084"/>
            <a:ext cx="5071241" cy="4878255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2E51FEAE-BA96-4211-91FF-90CF17E9C0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5" b="-51"/>
          <a:stretch/>
        </p:blipFill>
        <p:spPr>
          <a:xfrm>
            <a:off x="5355019" y="4310121"/>
            <a:ext cx="6174829" cy="2462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53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Content Placeholder 10"/>
          <p:cNvSpPr>
            <a:spLocks noGrp="1"/>
          </p:cNvSpPr>
          <p:nvPr>
            <p:ph idx="1"/>
          </p:nvPr>
        </p:nvSpPr>
        <p:spPr>
          <a:xfrm>
            <a:off x="422399" y="1650809"/>
            <a:ext cx="11552223" cy="3941052"/>
          </a:xfrm>
        </p:spPr>
        <p:txBody>
          <a:bodyPr/>
          <a:lstStyle/>
          <a:p>
            <a:pPr marL="0" indent="0">
              <a:buClr>
                <a:srgbClr val="001965"/>
              </a:buClr>
              <a:buNone/>
            </a:pPr>
            <a:r>
              <a:rPr lang="en-GB" sz="1600" dirty="0">
                <a:solidFill>
                  <a:srgbClr val="3B97DE"/>
                </a:solidFill>
              </a:rPr>
              <a:t>    Greater BMI at age 18 was a predictor of ovulatory infertility in women </a:t>
            </a:r>
            <a:r>
              <a:rPr lang="en-GB" sz="1600" b="1" dirty="0">
                <a:solidFill>
                  <a:srgbClr val="3B97DE"/>
                </a:solidFill>
              </a:rPr>
              <a:t>with and without a diagnosis of PCOS</a:t>
            </a:r>
          </a:p>
        </p:txBody>
      </p:sp>
      <p:sp>
        <p:nvSpPr>
          <p:cNvPr id="23555" name="Title 1"/>
          <p:cNvSpPr>
            <a:spLocks noGrp="1"/>
          </p:cNvSpPr>
          <p:nvPr>
            <p:ph type="title"/>
          </p:nvPr>
        </p:nvSpPr>
        <p:spPr>
          <a:xfrm>
            <a:off x="598170" y="687227"/>
            <a:ext cx="11376452" cy="521883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Risk of ovulatory infertility by BMI</a:t>
            </a: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EF00F7E3-4581-4AB1-9390-FD61F567F881}"/>
              </a:ext>
            </a:extLst>
          </p:cNvPr>
          <p:cNvGraphicFramePr>
            <a:graphicFrameLocks/>
          </p:cNvGraphicFramePr>
          <p:nvPr/>
        </p:nvGraphicFramePr>
        <p:xfrm>
          <a:off x="598171" y="2583038"/>
          <a:ext cx="10718124" cy="3214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2">
            <a:extLst>
              <a:ext uri="{FF2B5EF4-FFF2-40B4-BE49-F238E27FC236}">
                <a16:creationId xmlns:a16="http://schemas.microsoft.com/office/drawing/2014/main" id="{EEEC7118-F2FC-4032-B83C-727179D208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74667" y="3554092"/>
            <a:ext cx="1781257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000">
                <a:solidFill>
                  <a:schemeClr val="accent2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900">
                <a:solidFill>
                  <a:schemeClr val="accent2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800">
                <a:solidFill>
                  <a:schemeClr val="accent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800">
                <a:solidFill>
                  <a:schemeClr val="accent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800">
                <a:solidFill>
                  <a:schemeClr val="accent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800">
                <a:solidFill>
                  <a:schemeClr val="accent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800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Increasing risk of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ovulatory infertility</a:t>
            </a:r>
          </a:p>
        </p:txBody>
      </p:sp>
      <p:cxnSp>
        <p:nvCxnSpPr>
          <p:cNvPr id="16" name="Straight Connector 19">
            <a:extLst>
              <a:ext uri="{FF2B5EF4-FFF2-40B4-BE49-F238E27FC236}">
                <a16:creationId xmlns:a16="http://schemas.microsoft.com/office/drawing/2014/main" id="{3E9B9B50-A04B-44CC-90AC-F8CE2686E46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731012" y="4651148"/>
            <a:ext cx="8290561" cy="0"/>
          </a:xfrm>
          <a:prstGeom prst="line">
            <a:avLst/>
          </a:prstGeom>
          <a:noFill/>
          <a:ln w="12700" algn="ctr">
            <a:solidFill>
              <a:srgbClr val="001965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extBox 9">
            <a:extLst>
              <a:ext uri="{FF2B5EF4-FFF2-40B4-BE49-F238E27FC236}">
                <a16:creationId xmlns:a16="http://schemas.microsoft.com/office/drawing/2014/main" id="{6C17AC03-23D0-4880-AC80-61A3A91B96AD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193114" y="3647496"/>
            <a:ext cx="226700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spAutoFit/>
          </a:bodyPr>
          <a:lstStyle>
            <a:lvl1pPr>
              <a:defRPr b="1">
                <a:solidFill>
                  <a:srgbClr val="001965"/>
                </a:solidFill>
                <a:latin typeface="Verdana" pitchFamily="34" charset="0"/>
              </a:defRPr>
            </a:lvl1pPr>
            <a:lvl2pPr marL="742950" indent="-285750">
              <a:defRPr b="1">
                <a:solidFill>
                  <a:srgbClr val="001965"/>
                </a:solidFill>
                <a:latin typeface="Verdana" pitchFamily="34" charset="0"/>
              </a:defRPr>
            </a:lvl2pPr>
            <a:lvl3pPr marL="1143000" indent="-228600">
              <a:defRPr b="1">
                <a:solidFill>
                  <a:srgbClr val="001965"/>
                </a:solidFill>
                <a:latin typeface="Verdana" pitchFamily="34" charset="0"/>
              </a:defRPr>
            </a:lvl3pPr>
            <a:lvl4pPr marL="1600200" indent="-228600">
              <a:defRPr b="1">
                <a:solidFill>
                  <a:srgbClr val="001965"/>
                </a:solidFill>
                <a:latin typeface="Verdana" pitchFamily="34" charset="0"/>
              </a:defRPr>
            </a:lvl4pPr>
            <a:lvl5pPr marL="2057400" indent="-228600">
              <a:defRPr b="1">
                <a:solidFill>
                  <a:srgbClr val="001965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baseline="0">
                <a:solidFill>
                  <a:srgbClr val="001965"/>
                </a:solidFill>
                <a:latin typeface="Calibri"/>
                <a:ea typeface="Calibri"/>
                <a:cs typeface="Calibri"/>
              </a:defRPr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Verdana"/>
                <a:cs typeface="Verdana"/>
              </a:rPr>
              <a:t>Multivariate relative risk for infertility</a:t>
            </a:r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4C29191F-6460-47D3-892C-B187EB691EB5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BD5749AC-FAF3-4C56-9643-2BE7081D0AAE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Rich-Edwards et al. Am J </a:t>
            </a: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Obstet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Gynecol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1994;171:171–7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DF5B189B-929A-4C10-999D-84040BE369DA}"/>
              </a:ext>
            </a:extLst>
          </p:cNvPr>
          <p:cNvSpPr txBox="1">
            <a:spLocks/>
          </p:cNvSpPr>
          <p:nvPr/>
        </p:nvSpPr>
        <p:spPr>
          <a:xfrm>
            <a:off x="647999" y="6033560"/>
            <a:ext cx="10899337" cy="21544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Data are from 2527 married nulliparous women with infertility, defined as an inability to become pregnant for at least 1 year due to ovulatory disord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BMI, body mass index; PCOS, polycystic ovary syndrome.</a:t>
            </a:r>
          </a:p>
        </p:txBody>
      </p:sp>
      <p:sp>
        <p:nvSpPr>
          <p:cNvPr id="11" name="TextBox 51">
            <a:extLst>
              <a:ext uri="{FF2B5EF4-FFF2-40B4-BE49-F238E27FC236}">
                <a16:creationId xmlns:a16="http://schemas.microsoft.com/office/drawing/2014/main" id="{A412EB79-EFDC-4BA3-A619-EF6BFC85AD7C}"/>
              </a:ext>
            </a:extLst>
          </p:cNvPr>
          <p:cNvSpPr txBox="1"/>
          <p:nvPr/>
        </p:nvSpPr>
        <p:spPr>
          <a:xfrm>
            <a:off x="7160982" y="3684897"/>
            <a:ext cx="511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1.7</a:t>
            </a:r>
          </a:p>
        </p:txBody>
      </p:sp>
      <p:sp>
        <p:nvSpPr>
          <p:cNvPr id="12" name="TextBox 51">
            <a:extLst>
              <a:ext uri="{FF2B5EF4-FFF2-40B4-BE49-F238E27FC236}">
                <a16:creationId xmlns:a16="http://schemas.microsoft.com/office/drawing/2014/main" id="{37925A98-08B8-4AAE-BDF5-9C87CBCD59AB}"/>
              </a:ext>
            </a:extLst>
          </p:cNvPr>
          <p:cNvSpPr txBox="1"/>
          <p:nvPr/>
        </p:nvSpPr>
        <p:spPr>
          <a:xfrm>
            <a:off x="10176654" y="2621717"/>
            <a:ext cx="511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001965"/>
                </a:solidFill>
                <a:latin typeface="Apis For Office"/>
              </a:rPr>
              <a:t>2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.7</a:t>
            </a:r>
          </a:p>
        </p:txBody>
      </p:sp>
    </p:spTree>
    <p:extLst>
      <p:ext uri="{BB962C8B-B14F-4D97-AF65-F5344CB8AC3E}">
        <p14:creationId xmlns:p14="http://schemas.microsoft.com/office/powerpoint/2010/main" val="52257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e 19">
            <a:extLst>
              <a:ext uri="{FF2B5EF4-FFF2-40B4-BE49-F238E27FC236}">
                <a16:creationId xmlns:a16="http://schemas.microsoft.com/office/drawing/2014/main" id="{79DA1262-D29E-4380-A1CE-E237D869960F}"/>
              </a:ext>
            </a:extLst>
          </p:cNvPr>
          <p:cNvSpPr/>
          <p:nvPr/>
        </p:nvSpPr>
        <p:spPr>
          <a:xfrm>
            <a:off x="2000446" y="4057014"/>
            <a:ext cx="1664739" cy="157941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noProof="0" dirty="0">
                <a:solidFill>
                  <a:schemeClr val="tx2"/>
                </a:solidFill>
              </a:rPr>
              <a:t>Age</a:t>
            </a:r>
            <a:endParaRPr lang="en-GB" sz="2000" noProof="0" dirty="0" err="1">
              <a:solidFill>
                <a:schemeClr val="tx2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675B86DC-172F-40A7-9669-78589C94835B}"/>
              </a:ext>
            </a:extLst>
          </p:cNvPr>
          <p:cNvSpPr/>
          <p:nvPr/>
        </p:nvSpPr>
        <p:spPr>
          <a:xfrm>
            <a:off x="2000446" y="2188897"/>
            <a:ext cx="1664739" cy="1579418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noProof="0" dirty="0">
                <a:solidFill>
                  <a:schemeClr val="tx2"/>
                </a:solidFill>
              </a:rPr>
              <a:t>BMI</a:t>
            </a:r>
            <a:endParaRPr lang="en-GB" sz="2000" noProof="0" dirty="0" err="1">
              <a:solidFill>
                <a:schemeClr val="tx2"/>
              </a:solidFill>
            </a:endParaRPr>
          </a:p>
        </p:txBody>
      </p:sp>
      <p:sp>
        <p:nvSpPr>
          <p:cNvPr id="3" name="Ovale 2">
            <a:extLst>
              <a:ext uri="{FF2B5EF4-FFF2-40B4-BE49-F238E27FC236}">
                <a16:creationId xmlns:a16="http://schemas.microsoft.com/office/drawing/2014/main" id="{B48A1B8F-9C5B-43A6-B967-E4EDF4BFB204}"/>
              </a:ext>
            </a:extLst>
          </p:cNvPr>
          <p:cNvSpPr/>
          <p:nvPr/>
        </p:nvSpPr>
        <p:spPr>
          <a:xfrm>
            <a:off x="1076809" y="3196440"/>
            <a:ext cx="1664739" cy="157941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noProof="0" dirty="0" err="1">
                <a:solidFill>
                  <a:schemeClr val="tx2"/>
                </a:solidFill>
              </a:rPr>
              <a:t>Fertility</a:t>
            </a:r>
            <a:endParaRPr lang="en-GB" sz="2000" noProof="0" dirty="0" err="1">
              <a:solidFill>
                <a:schemeClr val="tx2"/>
              </a:solidFill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AD029118-008C-4940-96F2-7F56C1BA79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60" b="273"/>
          <a:stretch/>
        </p:blipFill>
        <p:spPr>
          <a:xfrm>
            <a:off x="2000447" y="3196439"/>
            <a:ext cx="741102" cy="589747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A6317D3B-7B06-48A7-BF7D-BF325419159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404" b="75"/>
          <a:stretch/>
        </p:blipFill>
        <p:spPr>
          <a:xfrm>
            <a:off x="2000447" y="4057014"/>
            <a:ext cx="752908" cy="718844"/>
          </a:xfrm>
          <a:prstGeom prst="rect">
            <a:avLst/>
          </a:prstGeom>
        </p:spPr>
      </p:pic>
      <p:sp>
        <p:nvSpPr>
          <p:cNvPr id="23555" name="Title 1"/>
          <p:cNvSpPr>
            <a:spLocks noGrp="1"/>
          </p:cNvSpPr>
          <p:nvPr>
            <p:ph type="title"/>
          </p:nvPr>
        </p:nvSpPr>
        <p:spPr>
          <a:xfrm>
            <a:off x="405130" y="687227"/>
            <a:ext cx="11569492" cy="521883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 Fertility and miscarriage rates as a function of maternal age</a:t>
            </a:r>
          </a:p>
        </p:txBody>
      </p:sp>
      <p:sp>
        <p:nvSpPr>
          <p:cNvPr id="18" name="Segnaposto numero diapositiva 5">
            <a:extLst>
              <a:ext uri="{FF2B5EF4-FFF2-40B4-BE49-F238E27FC236}">
                <a16:creationId xmlns:a16="http://schemas.microsoft.com/office/drawing/2014/main" id="{4C29191F-6460-47D3-892C-B187EB691EB5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BD5749AC-FAF3-4C56-9643-2BE7081D0AAE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Nwadndison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M., Bewley S. </a:t>
            </a:r>
            <a:r>
              <a:rPr kumimoji="0" lang="en-GB" alt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Fettal</a:t>
            </a:r>
            <a:r>
              <a:rPr kumimoji="0" lang="en-GB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Apis For Office" panose="020B0504010101010104" pitchFamily="34" charset="0"/>
                <a:cs typeface="Apis For Office" panose="020B0504010101010104" pitchFamily="34" charset="0"/>
              </a:rPr>
              <a:t> and Maternal Medicine Review 2006, 17(3), 185-204.</a:t>
            </a:r>
          </a:p>
        </p:txBody>
      </p:sp>
      <p:pic>
        <p:nvPicPr>
          <p:cNvPr id="1026" name="Picture 2" descr="The biological clock, female fertility decline - Global Women Connected">
            <a:extLst>
              <a:ext uri="{FF2B5EF4-FFF2-40B4-BE49-F238E27FC236}">
                <a16:creationId xmlns:a16="http://schemas.microsoft.com/office/drawing/2014/main" id="{8257931A-FCBC-4A01-A16A-A013BAA142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" b="-4"/>
          <a:stretch/>
        </p:blipFill>
        <p:spPr bwMode="auto">
          <a:xfrm>
            <a:off x="4789512" y="1626730"/>
            <a:ext cx="6585678" cy="486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580470C8-0670-4C16-9E4D-9BE9430E6F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5092" b="64060"/>
          <a:stretch/>
        </p:blipFill>
        <p:spPr>
          <a:xfrm>
            <a:off x="2000446" y="3196440"/>
            <a:ext cx="752908" cy="57187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D89CBF4E-6B51-48CF-8747-618FDF4A144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5092" t="54823"/>
          <a:stretch/>
        </p:blipFill>
        <p:spPr>
          <a:xfrm>
            <a:off x="2000446" y="4057014"/>
            <a:ext cx="752908" cy="718844"/>
          </a:xfrm>
          <a:prstGeom prst="rect">
            <a:avLst/>
          </a:prstGeom>
        </p:spPr>
      </p:pic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F8A0335F-4919-4017-8E28-AB2C2017A209}"/>
              </a:ext>
            </a:extLst>
          </p:cNvPr>
          <p:cNvCxnSpPr/>
          <p:nvPr/>
        </p:nvCxnSpPr>
        <p:spPr>
          <a:xfrm flipV="1">
            <a:off x="8469747" y="1801091"/>
            <a:ext cx="0" cy="3990109"/>
          </a:xfrm>
          <a:prstGeom prst="line">
            <a:avLst/>
          </a:prstGeom>
          <a:ln w="6350">
            <a:solidFill>
              <a:schemeClr val="accent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ccia in giù 21">
            <a:extLst>
              <a:ext uri="{FF2B5EF4-FFF2-40B4-BE49-F238E27FC236}">
                <a16:creationId xmlns:a16="http://schemas.microsoft.com/office/drawing/2014/main" id="{9E6E577A-876C-430B-80C4-67BFC33550C5}"/>
              </a:ext>
            </a:extLst>
          </p:cNvPr>
          <p:cNvSpPr/>
          <p:nvPr/>
        </p:nvSpPr>
        <p:spPr>
          <a:xfrm>
            <a:off x="8564952" y="2696615"/>
            <a:ext cx="351298" cy="59084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4E9B53E9-C5A8-4F5D-B042-DB3153C83003}"/>
              </a:ext>
            </a:extLst>
          </p:cNvPr>
          <p:cNvSpPr txBox="1"/>
          <p:nvPr/>
        </p:nvSpPr>
        <p:spPr>
          <a:xfrm>
            <a:off x="8916250" y="2630032"/>
            <a:ext cx="7529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23%</a:t>
            </a:r>
            <a:endParaRPr lang="en-GB" sz="2000" dirty="0"/>
          </a:p>
        </p:txBody>
      </p:sp>
      <p:sp>
        <p:nvSpPr>
          <p:cNvPr id="24" name="Freccia in giù 23">
            <a:extLst>
              <a:ext uri="{FF2B5EF4-FFF2-40B4-BE49-F238E27FC236}">
                <a16:creationId xmlns:a16="http://schemas.microsoft.com/office/drawing/2014/main" id="{4B1310C5-0C7D-4B35-9CCF-342F092C6B13}"/>
              </a:ext>
            </a:extLst>
          </p:cNvPr>
          <p:cNvSpPr/>
          <p:nvPr/>
        </p:nvSpPr>
        <p:spPr>
          <a:xfrm>
            <a:off x="9385357" y="3880404"/>
            <a:ext cx="351298" cy="59084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EC7CBDF-CC13-4181-87CC-8A807B8BB3E5}"/>
              </a:ext>
            </a:extLst>
          </p:cNvPr>
          <p:cNvSpPr txBox="1"/>
          <p:nvPr/>
        </p:nvSpPr>
        <p:spPr>
          <a:xfrm>
            <a:off x="9736655" y="3813821"/>
            <a:ext cx="7529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55%</a:t>
            </a:r>
            <a:endParaRPr lang="en-GB" sz="2000" dirty="0"/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C76CF8EF-8A91-4C32-8C6D-462D37FED30D}"/>
              </a:ext>
            </a:extLst>
          </p:cNvPr>
          <p:cNvSpPr txBox="1"/>
          <p:nvPr/>
        </p:nvSpPr>
        <p:spPr>
          <a:xfrm>
            <a:off x="8538501" y="2379199"/>
            <a:ext cx="14209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chemeClr val="tx2"/>
                </a:solidFill>
              </a:rPr>
              <a:t>Fertility</a:t>
            </a:r>
            <a:endParaRPr lang="en-GB" sz="1400" dirty="0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5526247A-FF51-41DE-9B68-7546F8ED03E7}"/>
              </a:ext>
            </a:extLst>
          </p:cNvPr>
          <p:cNvSpPr txBox="1"/>
          <p:nvPr/>
        </p:nvSpPr>
        <p:spPr>
          <a:xfrm>
            <a:off x="9385357" y="3575480"/>
            <a:ext cx="14209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chemeClr val="tx2"/>
                </a:solidFill>
              </a:rPr>
              <a:t>Fertility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42602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 animBg="1"/>
      <p:bldP spid="23" grpId="0"/>
      <p:bldP spid="24" grpId="0" animBg="1"/>
      <p:bldP spid="25" grpId="0"/>
      <p:bldP spid="26" grpId="0"/>
      <p:bldP spid="2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lide Number Placeholder 1">
            <a:extLst>
              <a:ext uri="{FF2B5EF4-FFF2-40B4-BE49-F238E27FC236}">
                <a16:creationId xmlns:a16="http://schemas.microsoft.com/office/drawing/2014/main" id="{9149C9F2-0149-4336-B8C4-19D70CCCF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15" name="Slide Number">
            <a:extLst>
              <a:ext uri="{FF2B5EF4-FFF2-40B4-BE49-F238E27FC236}">
                <a16:creationId xmlns:a16="http://schemas.microsoft.com/office/drawing/2014/main" id="{B17D4400-21E1-4905-BAB9-84E971CEE32E}"/>
              </a:ext>
            </a:extLst>
          </p:cNvPr>
          <p:cNvSpPr txBox="1">
            <a:spLocks/>
          </p:cNvSpPr>
          <p:nvPr/>
        </p:nvSpPr>
        <p:spPr>
          <a:xfrm>
            <a:off x="11202322" y="415925"/>
            <a:ext cx="709356" cy="36195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xmlns:a14="http://schemas.microsoft.com/office/drawing/2010/main" xmlns:m="http://schemas.openxmlformats.org/officeDocument/2006/math" val="1"/>
            </a:ext>
          </a:extLst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GB" smtClean="0">
                <a:solidFill>
                  <a:schemeClr val="bg1"/>
                </a:solidFill>
              </a:rPr>
              <a:pPr/>
              <a:t>9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id="{C9355F9E-92DC-4B67-BEA6-FC8CF33B7F82}"/>
              </a:ext>
            </a:extLst>
          </p:cNvPr>
          <p:cNvSpPr txBox="1">
            <a:spLocks/>
          </p:cNvSpPr>
          <p:nvPr/>
        </p:nvSpPr>
        <p:spPr>
          <a:xfrm>
            <a:off x="648000" y="648000"/>
            <a:ext cx="9753300" cy="12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ve birth rate according to body mass index</a:t>
            </a:r>
          </a:p>
          <a:p>
            <a:r>
              <a:rPr lang="en-GB" sz="2000" dirty="0">
                <a:solidFill>
                  <a:srgbClr val="3B97DE"/>
                </a:solidFill>
                <a:latin typeface="Raleway" pitchFamily="2" charset="0"/>
              </a:rPr>
              <a:t>E</a:t>
            </a:r>
            <a:r>
              <a:rPr lang="en-GB" sz="2000" b="0" i="0" dirty="0">
                <a:solidFill>
                  <a:srgbClr val="3B97DE"/>
                </a:solidFill>
                <a:effectLst/>
                <a:latin typeface="Raleway" pitchFamily="2" charset="0"/>
              </a:rPr>
              <a:t>ffect of BMI on live birth rates in 4,609 patients undergoing their first IVF cycle</a:t>
            </a:r>
            <a:endParaRPr lang="en-GB" sz="2000" dirty="0">
              <a:solidFill>
                <a:srgbClr val="3B97DE"/>
              </a:solidFill>
            </a:endParaRPr>
          </a:p>
          <a:p>
            <a:endParaRPr lang="en-CA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17" name="Rettangolo 116">
            <a:extLst>
              <a:ext uri="{FF2B5EF4-FFF2-40B4-BE49-F238E27FC236}">
                <a16:creationId xmlns:a16="http://schemas.microsoft.com/office/drawing/2014/main" id="{7F301B0F-28E0-48EE-81A2-89E2A137E30F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oragianna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VA, et al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ert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eri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2;98:102-8</a:t>
            </a:r>
          </a:p>
        </p:txBody>
      </p:sp>
      <p:pic>
        <p:nvPicPr>
          <p:cNvPr id="130" name="Graphic 2" descr="Petri Dish outline">
            <a:extLst>
              <a:ext uri="{FF2B5EF4-FFF2-40B4-BE49-F238E27FC236}">
                <a16:creationId xmlns:a16="http://schemas.microsoft.com/office/drawing/2014/main" id="{17B8B4FB-27CC-4699-8FE5-AFEF934DDC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66315" y="271987"/>
            <a:ext cx="1672013" cy="1672013"/>
          </a:xfrm>
          <a:prstGeom prst="rect">
            <a:avLst/>
          </a:prstGeom>
        </p:spPr>
      </p:pic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C40EBB43-9A37-42E5-8A6C-649AE16F271D}"/>
              </a:ext>
            </a:extLst>
          </p:cNvPr>
          <p:cNvSpPr txBox="1"/>
          <p:nvPr/>
        </p:nvSpPr>
        <p:spPr>
          <a:xfrm>
            <a:off x="648000" y="2142150"/>
            <a:ext cx="40876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tx2"/>
                </a:solidFill>
              </a:rPr>
              <a:t>Compared with normal BMI, the adjusted odds of </a:t>
            </a:r>
            <a:r>
              <a:rPr lang="en-GB" sz="2000" b="1" dirty="0">
                <a:solidFill>
                  <a:schemeClr val="tx2"/>
                </a:solidFill>
              </a:rPr>
              <a:t>live birth </a:t>
            </a:r>
            <a:r>
              <a:rPr lang="en-GB" sz="2000" dirty="0">
                <a:solidFill>
                  <a:schemeClr val="tx2"/>
                </a:solidFill>
              </a:rPr>
              <a:t>are: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D3EC5EEE-8423-46A7-A00D-AA222B7C5E2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6" b="-10"/>
          <a:stretch/>
        </p:blipFill>
        <p:spPr>
          <a:xfrm>
            <a:off x="4941988" y="2897593"/>
            <a:ext cx="6611637" cy="2311825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0" name="Freccia in giù 9">
            <a:extLst>
              <a:ext uri="{FF2B5EF4-FFF2-40B4-BE49-F238E27FC236}">
                <a16:creationId xmlns:a16="http://schemas.microsoft.com/office/drawing/2014/main" id="{1D841BA2-314A-42A1-B385-91EF64407A60}"/>
              </a:ext>
            </a:extLst>
          </p:cNvPr>
          <p:cNvSpPr/>
          <p:nvPr/>
        </p:nvSpPr>
        <p:spPr>
          <a:xfrm>
            <a:off x="1162623" y="3211772"/>
            <a:ext cx="351298" cy="59084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32" name="Freccia in giù 31">
            <a:extLst>
              <a:ext uri="{FF2B5EF4-FFF2-40B4-BE49-F238E27FC236}">
                <a16:creationId xmlns:a16="http://schemas.microsoft.com/office/drawing/2014/main" id="{AEC8481F-709F-4BF0-9544-4DAE543A28CC}"/>
              </a:ext>
            </a:extLst>
          </p:cNvPr>
          <p:cNvSpPr/>
          <p:nvPr/>
        </p:nvSpPr>
        <p:spPr>
          <a:xfrm>
            <a:off x="1162623" y="4184229"/>
            <a:ext cx="351298" cy="59084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6031FA71-9FF4-48D3-8853-4F92BE155D6E}"/>
              </a:ext>
            </a:extLst>
          </p:cNvPr>
          <p:cNvSpPr txBox="1"/>
          <p:nvPr/>
        </p:nvSpPr>
        <p:spPr>
          <a:xfrm>
            <a:off x="1513921" y="3145189"/>
            <a:ext cx="29513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37% </a:t>
            </a:r>
            <a:r>
              <a:rPr lang="en-GB" sz="2000" dirty="0">
                <a:solidFill>
                  <a:schemeClr val="tx2"/>
                </a:solidFill>
              </a:rPr>
              <a:t>in class I obesity</a:t>
            </a:r>
            <a:endParaRPr lang="en-GB" sz="2000" dirty="0"/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3109109D-0E50-48D6-B90C-4CFA5B1B8D81}"/>
              </a:ext>
            </a:extLst>
          </p:cNvPr>
          <p:cNvSpPr txBox="1"/>
          <p:nvPr/>
        </p:nvSpPr>
        <p:spPr>
          <a:xfrm>
            <a:off x="1513920" y="4178059"/>
            <a:ext cx="29513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61% </a:t>
            </a:r>
            <a:r>
              <a:rPr lang="en-GB" sz="2000" dirty="0">
                <a:solidFill>
                  <a:schemeClr val="tx2"/>
                </a:solidFill>
              </a:rPr>
              <a:t>in class II obesity</a:t>
            </a:r>
            <a:endParaRPr lang="en-GB" sz="2000" dirty="0"/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C747857C-731D-484D-AFA9-70D9E60F3160}"/>
              </a:ext>
            </a:extLst>
          </p:cNvPr>
          <p:cNvSpPr txBox="1"/>
          <p:nvPr/>
        </p:nvSpPr>
        <p:spPr>
          <a:xfrm>
            <a:off x="1526298" y="5149283"/>
            <a:ext cx="29513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</a:rPr>
              <a:t>68% </a:t>
            </a:r>
            <a:r>
              <a:rPr lang="en-GB" sz="2000" dirty="0">
                <a:solidFill>
                  <a:schemeClr val="tx2"/>
                </a:solidFill>
              </a:rPr>
              <a:t>in class III obesity</a:t>
            </a:r>
            <a:endParaRPr lang="en-GB" sz="2000" dirty="0"/>
          </a:p>
        </p:txBody>
      </p:sp>
      <p:sp>
        <p:nvSpPr>
          <p:cNvPr id="39" name="Freccia in giù 38">
            <a:extLst>
              <a:ext uri="{FF2B5EF4-FFF2-40B4-BE49-F238E27FC236}">
                <a16:creationId xmlns:a16="http://schemas.microsoft.com/office/drawing/2014/main" id="{EFE5689E-1A42-4580-A5DB-39057DD0478F}"/>
              </a:ext>
            </a:extLst>
          </p:cNvPr>
          <p:cNvSpPr/>
          <p:nvPr/>
        </p:nvSpPr>
        <p:spPr>
          <a:xfrm>
            <a:off x="1175000" y="5149283"/>
            <a:ext cx="351298" cy="59084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44" name="Rettangolo con angoli arrotondati 43">
            <a:extLst>
              <a:ext uri="{FF2B5EF4-FFF2-40B4-BE49-F238E27FC236}">
                <a16:creationId xmlns:a16="http://schemas.microsoft.com/office/drawing/2014/main" id="{18ADB0E2-E672-4893-9717-BFF07E20ADA3}"/>
              </a:ext>
            </a:extLst>
          </p:cNvPr>
          <p:cNvSpPr/>
          <p:nvPr/>
        </p:nvSpPr>
        <p:spPr>
          <a:xfrm>
            <a:off x="4735630" y="4056617"/>
            <a:ext cx="3734602" cy="85738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5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2.xml><?xml version="1.0" encoding="utf-8"?>
<a:theme xmlns:a="http://schemas.openxmlformats.org/drawingml/2006/main" name="Novo Nordisk Congress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3.xml><?xml version="1.0" encoding="utf-8"?>
<a:theme xmlns:a="http://schemas.openxmlformats.org/drawingml/2006/main" name="Novo Nordisk One pager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20210624_Novo Nordisk One pager (003).potx" id="{FF5F2DB1-D032-43B1-BC48-A799474BC236}" vid="{DEC12867-40BC-4652-97D9-A9A91619B8E7}"/>
    </a:ext>
  </a:extLst>
</a:theme>
</file>

<file path=ppt/theme/theme4.xml><?xml version="1.0" encoding="utf-8"?>
<a:theme xmlns:a="http://schemas.openxmlformats.org/drawingml/2006/main" name="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name="NN_Neutral_16-9_Beta2.potx" id="{21201BA1-2AA5-4963-A710-9949ABD9F861}" vid="{91C5D067-80C1-4372-80D3-7F673B84C551}"/>
    </a:ext>
  </a:extLst>
</a:theme>
</file>

<file path=ppt/theme/theme5.xml><?xml version="1.0" encoding="utf-8"?>
<a:theme xmlns:a="http://schemas.openxmlformats.org/drawingml/2006/main" name="2020 NN Sema Obesity CSD">
  <a:themeElements>
    <a:clrScheme name="NN 2020 Rebrand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">
      <a:majorFont>
        <a:latin typeface="Apis"/>
        <a:ea typeface=""/>
        <a:cs typeface=""/>
      </a:majorFont>
      <a:minorFont>
        <a:latin typeface="Ap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ccent 1">
      <a:srgbClr val="001965"/>
    </a:custClr>
    <a:custClr name="Accent 2">
      <a:srgbClr val="005AD2"/>
    </a:custClr>
    <a:custClr name="Accent 3">
      <a:srgbClr val="3B97DE"/>
    </a:custClr>
    <a:custClr name="Accent 4">
      <a:srgbClr val="EEA7BF"/>
    </a:custClr>
    <a:custClr name="Accent 5">
      <a:srgbClr val="2A918B"/>
    </a:custClr>
    <a:custClr name="Accent 6">
      <a:srgbClr val="939AA7"/>
    </a:custClr>
    <a:custClr name="Light 2">
      <a:srgbClr val="CCC5BD"/>
    </a:custClr>
    <a:custClr name="Dark 1">
      <a:srgbClr val="000000"/>
    </a:custClr>
    <a:custClr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99BDED"/>
    </a:custClr>
    <a:custClr name="Accent 3">
      <a:srgbClr val="B1D5F2"/>
    </a:custClr>
    <a:custClr name="Accent 4">
      <a:srgbClr val="F8DCE5"/>
    </a:custClr>
    <a:custClr name="Accent 5">
      <a:srgbClr val="AAD3D1"/>
    </a:custClr>
    <a:custClr name="Accent 6">
      <a:srgbClr val="D4D7DC"/>
    </a:custClr>
    <a:custClr name="Light 2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CCDEF6"/>
    </a:custClr>
    <a:custClr name="Accent 3">
      <a:srgbClr val="D8EAF8"/>
    </a:custClr>
    <a:custClr name="Accent 4">
      <a:srgbClr val="FCEDF2"/>
    </a:custClr>
    <a:custClr name="Accent 5">
      <a:srgbClr val="D4E9E8"/>
    </a:custClr>
    <a:custClr name="Accent 6">
      <a:srgbClr val="E9EBED"/>
    </a:custClr>
    <a:custClr name="Light 2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909C29A5-E88E-48A9-8FEA-98397920CF68}" vid="{8A5C03E6-BC19-4ABC-A5C6-B7977B8DD495}"/>
    </a:ext>
  </a:extLst>
</a:theme>
</file>

<file path=ppt/theme/theme6.xml><?xml version="1.0" encoding="utf-8"?>
<a:theme xmlns:a="http://schemas.openxmlformats.org/drawingml/2006/main" name="2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N Microsoft Office Color Scheme">
    <a:dk1>
      <a:srgbClr val="001965"/>
    </a:dk1>
    <a:lt1>
      <a:srgbClr val="FFFFFF"/>
    </a:lt1>
    <a:dk2>
      <a:srgbClr val="001965"/>
    </a:dk2>
    <a:lt2>
      <a:srgbClr val="E0DED8"/>
    </a:lt2>
    <a:accent1>
      <a:srgbClr val="009FDA"/>
    </a:accent1>
    <a:accent2>
      <a:srgbClr val="001965"/>
    </a:accent2>
    <a:accent3>
      <a:srgbClr val="82786F"/>
    </a:accent3>
    <a:accent4>
      <a:srgbClr val="E0DED8"/>
    </a:accent4>
    <a:accent5>
      <a:srgbClr val="E64A0E"/>
    </a:accent5>
    <a:accent6>
      <a:srgbClr val="AEA79F"/>
    </a:accent6>
    <a:hlink>
      <a:srgbClr val="009FDA"/>
    </a:hlink>
    <a:folHlink>
      <a:srgbClr val="82786F"/>
    </a:folHlink>
  </a:clrScheme>
  <a:fontScheme name="Verdana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TemplateConfiguration><![CDATA[{"elementsMetadata":[],"transformationConfigurations":[],"templateName":"Novo Nordisk template 2020","templateDescription":"Create a new presentation","enableDocumentContentUpdater":true,"version":"1.1"}]]></TemplafyTemplateConfiguration>
</file>

<file path=customXml/item2.xml><?xml version="1.0" encoding="utf-8"?>
<TemplafyFormConfiguration><![CDATA[{"formFields":[{"dataSource":"P - Logo Choice","displayColumn":"logoUI","hideIfNoUserInteractionRequired":false,"distinct":true,"required":false,"autoSelectFirstOption":false,"type":"dropDown","name":"PLogoChoice","label":"Choose template version","helpTexts":{"prefix":"","postfix":""},"spacing":{},"fullyQualifiedName":"PLogoChoice"}],"formDataEntries":[]}]]></Templafy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624167013939451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3EF6E6FF-A500-45E5-BC31-0E5BF6EC43E4}">
  <ds:schemaRefs/>
</ds:datastoreItem>
</file>

<file path=customXml/itemProps2.xml><?xml version="1.0" encoding="utf-8"?>
<ds:datastoreItem xmlns:ds="http://schemas.openxmlformats.org/officeDocument/2006/customXml" ds:itemID="{0EAE732B-3A91-411A-8C1A-6FA9E5457B7E}">
  <ds:schemaRefs/>
</ds:datastoreItem>
</file>

<file path=customXml/itemProps3.xml><?xml version="1.0" encoding="utf-8"?>
<ds:datastoreItem xmlns:ds="http://schemas.openxmlformats.org/officeDocument/2006/customXml" ds:itemID="{ABCE8F19-71BA-45A5-BCB7-4F2A8C235082}">
  <ds:schemaRefs/>
</ds:datastoreItem>
</file>

<file path=customXml/itemProps4.xml><?xml version="1.0" encoding="utf-8"?>
<ds:datastoreItem xmlns:ds="http://schemas.openxmlformats.org/officeDocument/2006/customXml" ds:itemID="{2D3F97C6-271F-4240-9F6D-0CD333446F1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085</TotalTime>
  <Words>1434</Words>
  <Application>Microsoft Office PowerPoint</Application>
  <PresentationFormat>Widescreen</PresentationFormat>
  <Paragraphs>180</Paragraphs>
  <Slides>18</Slides>
  <Notes>1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3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8</vt:i4>
      </vt:variant>
    </vt:vector>
  </HeadingPairs>
  <TitlesOfParts>
    <vt:vector size="39" baseType="lpstr">
      <vt:lpstr>Tahoma</vt:lpstr>
      <vt:lpstr>AdvTTa9c1b374</vt:lpstr>
      <vt:lpstr>MS PGothic</vt:lpstr>
      <vt:lpstr>AdvTTa9c1b374+22</vt:lpstr>
      <vt:lpstr>Apis For Office Light</vt:lpstr>
      <vt:lpstr>Apis For Office</vt:lpstr>
      <vt:lpstr>Verdana</vt:lpstr>
      <vt:lpstr>Calibri</vt:lpstr>
      <vt:lpstr>Wingdings</vt:lpstr>
      <vt:lpstr>Apis</vt:lpstr>
      <vt:lpstr>Arial</vt:lpstr>
      <vt:lpstr>Raleway</vt:lpstr>
      <vt:lpstr>AdvTT6071803a.B</vt:lpstr>
      <vt:lpstr>Novo Nordisk 16:9</vt:lpstr>
      <vt:lpstr>Novo Nordisk Congress</vt:lpstr>
      <vt:lpstr>Novo Nordisk One pager</vt:lpstr>
      <vt:lpstr>NN_Neutral_16-9</vt:lpstr>
      <vt:lpstr>2020 NN Sema Obesity CSD</vt:lpstr>
      <vt:lpstr>2_NN_Neutral_16-9</vt:lpstr>
      <vt:lpstr>Tema di Office</vt:lpstr>
      <vt:lpstr>think-cell Slide</vt:lpstr>
      <vt:lpstr>Presentazione standard di PowerPoint</vt:lpstr>
      <vt:lpstr>Presentazione standard di PowerPoint</vt:lpstr>
      <vt:lpstr>Presentazione standard di PowerPoint</vt:lpstr>
      <vt:lpstr>Female infertility: which role for obesity?</vt:lpstr>
      <vt:lpstr> </vt:lpstr>
      <vt:lpstr>Presentazione standard di PowerPoint</vt:lpstr>
      <vt:lpstr>Risk of ovulatory infertility by BMI</vt:lpstr>
      <vt:lpstr> Fertility and miscarriage rates as a function of maternal age</vt:lpstr>
      <vt:lpstr>Presentazione standard di PowerPoint</vt:lpstr>
      <vt:lpstr>Presentazione standard di PowerPoint</vt:lpstr>
      <vt:lpstr>Presentazione standard di PowerPoint</vt:lpstr>
      <vt:lpstr>Obesity and pregnancy:  Risk (%) of Adverse Fetal and Maternal Outcomes  </vt:lpstr>
      <vt:lpstr>Weight loss improves clinical features and long-term metabolic health in women</vt:lpstr>
      <vt:lpstr>Weight loss benefit on female fertility</vt:lpstr>
      <vt:lpstr>Presentazione standard di PowerPoint</vt:lpstr>
      <vt:lpstr>Presentazione standard di PowerPoint</vt:lpstr>
      <vt:lpstr>CONCLUSIONI</vt:lpstr>
      <vt:lpstr>Weight Los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esity, GLP-1 and Liraglutide 3.0 mg</dc:title>
  <dc:creator>GSVE (Gianluca Stivale)</dc:creator>
  <cp:lastModifiedBy>asus</cp:lastModifiedBy>
  <cp:revision>93</cp:revision>
  <dcterms:created xsi:type="dcterms:W3CDTF">2021-08-19T17:50:22Z</dcterms:created>
  <dcterms:modified xsi:type="dcterms:W3CDTF">2025-09-25T20:3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0040785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9.1.4</vt:lpwstr>
  </property>
</Properties>
</file>